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heme/themeOverride6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heme/themeOverride7.xml" ContentType="application/vnd.openxmlformats-officedocument.themeOverrid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theme/themeOverride8.xml" ContentType="application/vnd.openxmlformats-officedocument.themeOverrid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1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2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3.xml" ContentType="application/vnd.openxmlformats-officedocument.theme+xml"/>
  <Override PartName="/ppt/theme/themeOverride9.xml" ContentType="application/vnd.openxmlformats-officedocument.themeOverrid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4.xml" ContentType="application/vnd.openxmlformats-officedocument.theme+xml"/>
  <Override PartName="/ppt/theme/themeOverride10.xml" ContentType="application/vnd.openxmlformats-officedocument.themeOverrid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5.xml" ContentType="application/vnd.openxmlformats-officedocument.theme+xml"/>
  <Override PartName="/ppt/theme/themeOverride11.xml" ContentType="application/vnd.openxmlformats-officedocument.themeOverride+xml"/>
  <Override PartName="/ppt/tags/tag139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6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7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18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9.xml" ContentType="application/vnd.openxmlformats-officedocument.them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20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21.xml" ContentType="application/vnd.openxmlformats-officedocument.them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22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23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24.xml" ContentType="application/vnd.openxmlformats-officedocument.them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heme/theme25.xml" ContentType="application/vnd.openxmlformats-officedocument.theme+xml"/>
  <Override PartName="/ppt/theme/theme2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4"/>
    <p:sldMasterId id="2147483706" r:id="rId5"/>
    <p:sldMasterId id="2147483710" r:id="rId6"/>
    <p:sldMasterId id="2147483724" r:id="rId7"/>
    <p:sldMasterId id="2147483742" r:id="rId8"/>
    <p:sldMasterId id="2147483754" r:id="rId9"/>
    <p:sldMasterId id="2147483798" r:id="rId10"/>
    <p:sldMasterId id="2147483943" r:id="rId11"/>
    <p:sldMasterId id="2147483972" r:id="rId12"/>
    <p:sldMasterId id="2147483982" r:id="rId13"/>
    <p:sldMasterId id="2147484047" r:id="rId14"/>
    <p:sldMasterId id="2147484060" r:id="rId15"/>
    <p:sldMasterId id="2147484080" r:id="rId16"/>
    <p:sldMasterId id="2147484098" r:id="rId17"/>
    <p:sldMasterId id="2147484107" r:id="rId18"/>
    <p:sldMasterId id="2147484116" r:id="rId19"/>
    <p:sldMasterId id="2147484131" r:id="rId20"/>
    <p:sldMasterId id="2147484205" r:id="rId21"/>
    <p:sldMasterId id="2147484273" r:id="rId22"/>
    <p:sldMasterId id="2147484309" r:id="rId23"/>
    <p:sldMasterId id="2147484376" r:id="rId24"/>
    <p:sldMasterId id="2147484418" r:id="rId25"/>
    <p:sldMasterId id="2147484493" r:id="rId26"/>
    <p:sldMasterId id="2147484538" r:id="rId27"/>
  </p:sldMasterIdLst>
  <p:notesMasterIdLst>
    <p:notesMasterId r:id="rId32"/>
  </p:notesMasterIdLst>
  <p:handoutMasterIdLst>
    <p:handoutMasterId r:id="rId33"/>
  </p:handoutMasterIdLst>
  <p:sldIdLst>
    <p:sldId id="543" r:id="rId28"/>
    <p:sldId id="1785" r:id="rId29"/>
    <p:sldId id="1803" r:id="rId30"/>
    <p:sldId id="1804" r:id="rId31"/>
  </p:sldIdLst>
  <p:sldSz cx="12192000" cy="6858000"/>
  <p:notesSz cx="7010400" cy="9296400"/>
  <p:defaultTextStyle>
    <a:defPPr>
      <a:defRPr lang="en-US"/>
    </a:defPPr>
    <a:lvl1pPr marL="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2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5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8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0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3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60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87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13" algn="l" defTabSz="914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eredo, Karla Joana [CCC-OT_LTM]" initials="PKJ[" lastIdx="11" clrIdx="0"/>
  <p:cmAuthor id="1" name="Kurchenko, Ekaterina" initials="KE" lastIdx="4" clrIdx="1"/>
  <p:cmAuthor id="2" name="Cano, Paola [GCB-RTLB]" initials="CP[" lastIdx="4" clrIdx="4"/>
  <p:cmAuthor id="3" name="Dusermex" initials="D" lastIdx="1" clrIdx="3"/>
  <p:cmAuthor id="4" name="Peredo, Karla Joana [GCB-OT]" initials="PKJ[" lastIdx="1" clrIdx="5"/>
  <p:cmAuthor id="5" name="Hernandez, Ana (MX - Mexico)" initials="HA(-M" lastIdx="2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77F"/>
    <a:srgbClr val="0067B7"/>
    <a:srgbClr val="EE4228"/>
    <a:srgbClr val="87CBD8"/>
    <a:srgbClr val="7C1A4D"/>
    <a:srgbClr val="7B184F"/>
    <a:srgbClr val="F36F26"/>
    <a:srgbClr val="F26F27"/>
    <a:srgbClr val="EE4328"/>
    <a:srgbClr val="0079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83" autoAdjust="0"/>
    <p:restoredTop sz="90882" autoAdjust="0"/>
  </p:normalViewPr>
  <p:slideViewPr>
    <p:cSldViewPr snapToGrid="0" snapToObjects="1">
      <p:cViewPr varScale="1">
        <p:scale>
          <a:sx n="124" d="100"/>
          <a:sy n="124" d="100"/>
        </p:scale>
        <p:origin x="1080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201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1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3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B3BEBB-2B3E-2044-94C4-AD43D5BFFC3B}" type="datetimeFigureOut">
              <a:rPr lang="en-US" smtClean="0"/>
              <a:t>2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6F95C16-7D9F-B24D-929D-2F4D68B8DA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8944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A4653ED-03D2-7542-AE1B-FB47779A335F}" type="datetimeFigureOut">
              <a:rPr lang="en-US" smtClean="0"/>
              <a:t>2/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6AFAD0A-972D-3147-9D91-3BAFCEED8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102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5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8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0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3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0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7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3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9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3.xml"/><Relationship Id="rId7" Type="http://schemas.openxmlformats.org/officeDocument/2006/relationships/image" Target="../media/image6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3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3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3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5.png"/><Relationship Id="rId2" Type="http://schemas.openxmlformats.org/officeDocument/2006/relationships/tags" Target="../tags/tag8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4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5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4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5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4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9.jpeg"/><Relationship Id="rId2" Type="http://schemas.openxmlformats.org/officeDocument/2006/relationships/tags" Target="../tags/tag11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6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9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2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3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4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9.jpeg"/><Relationship Id="rId2" Type="http://schemas.openxmlformats.org/officeDocument/2006/relationships/tags" Target="../tags/tag12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9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1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9.jpeg"/><Relationship Id="rId2" Type="http://schemas.openxmlformats.org/officeDocument/2006/relationships/tags" Target="../tags/tag14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3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5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7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9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1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2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4.xml"/><Relationship Id="rId7" Type="http://schemas.openxmlformats.org/officeDocument/2006/relationships/image" Target="../media/image21.jpeg"/><Relationship Id="rId2" Type="http://schemas.openxmlformats.org/officeDocument/2006/relationships/tags" Target="../tags/tag15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9.jpeg"/><Relationship Id="rId2" Type="http://schemas.openxmlformats.org/officeDocument/2006/relationships/tags" Target="../tags/tag15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6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7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8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0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4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6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7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8.bin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9.jpeg"/><Relationship Id="rId2" Type="http://schemas.openxmlformats.org/officeDocument/2006/relationships/tags" Target="../tags/tag17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0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3.xml"/><Relationship Id="rId7" Type="http://schemas.openxmlformats.org/officeDocument/2006/relationships/image" Target="../media/image6.jpeg"/><Relationship Id="rId2" Type="http://schemas.openxmlformats.org/officeDocument/2006/relationships/tags" Target="../tags/tag17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7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3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13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13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13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13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13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14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5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6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1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15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14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1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15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1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14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1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8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9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9.jpeg"/><Relationship Id="rId2" Type="http://schemas.openxmlformats.org/officeDocument/2006/relationships/tags" Target="../tags/tag21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4.bin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9.xml"/><Relationship Id="rId7" Type="http://schemas.openxmlformats.org/officeDocument/2006/relationships/image" Target="../media/image6.jpeg"/><Relationship Id="rId2" Type="http://schemas.openxmlformats.org/officeDocument/2006/relationships/tags" Target="../tags/tag218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8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13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3.png"/><Relationship Id="rId2" Type="http://schemas.openxmlformats.org/officeDocument/2006/relationships/tags" Target="../tags/tag227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3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1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13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1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13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13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14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15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16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5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14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15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14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15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5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14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18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1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1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9.jpeg"/><Relationship Id="rId2" Type="http://schemas.openxmlformats.org/officeDocument/2006/relationships/tags" Target="../tags/tag269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2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3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4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5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6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7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8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9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0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2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4.jpeg"/><Relationship Id="rId2" Type="http://schemas.openxmlformats.org/officeDocument/2006/relationships/tags" Target="../tags/tag281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4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5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6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7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8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0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1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2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3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4.bin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4.jpeg"/><Relationship Id="rId2" Type="http://schemas.openxmlformats.org/officeDocument/2006/relationships/tags" Target="../tags/tag293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6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7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8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9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0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1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2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3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4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5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4.jpeg"/><Relationship Id="rId2" Type="http://schemas.openxmlformats.org/officeDocument/2006/relationships/tags" Target="../tags/tag305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8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9.bin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0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1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2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3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25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4.bin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5.bin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7.bin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8.bin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9.jpeg"/><Relationship Id="rId2" Type="http://schemas.openxmlformats.org/officeDocument/2006/relationships/tags" Target="../tags/tag317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0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1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2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3.bin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6.bin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7.bin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8.bin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9.bin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0.bin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9.jpeg"/><Relationship Id="rId2" Type="http://schemas.openxmlformats.org/officeDocument/2006/relationships/tags" Target="../tags/tag329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2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4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5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6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7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8.bin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9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0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1.bin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2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275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5"/>
          <p:cNvSpPr>
            <a:spLocks noChangeShapeType="1"/>
          </p:cNvSpPr>
          <p:nvPr userDrawn="1"/>
        </p:nvSpPr>
        <p:spPr bwMode="gray">
          <a:xfrm>
            <a:off x="557948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82" tIns="45690" rIns="91382" bIns="4569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4482" y="350115"/>
            <a:ext cx="11230029" cy="63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A307D-7663-40BE-AEAC-58931156E481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828786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4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99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10969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52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5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585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5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769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5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81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5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59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9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2" name="Group 71"/>
          <p:cNvGrpSpPr/>
          <p:nvPr userDrawn="1"/>
        </p:nvGrpSpPr>
        <p:grpSpPr>
          <a:xfrm>
            <a:off x="2" y="6221395"/>
            <a:ext cx="12191999" cy="574391"/>
            <a:chOff x="0" y="6221393"/>
            <a:chExt cx="12191999" cy="574391"/>
          </a:xfrm>
        </p:grpSpPr>
        <p:pic>
          <p:nvPicPr>
            <p:cNvPr id="73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4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3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35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35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3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6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249299"/>
          </a:xfr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1" name="Picture 15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52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9875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rgbClr val="73C4EF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15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6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3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44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3" b="31548"/>
          <a:stretch>
            <a:fillRect/>
          </a:stretch>
        </p:blipFill>
        <p:spPr bwMode="auto">
          <a:xfrm>
            <a:off x="7295581" y="5542984"/>
            <a:ext cx="4744433" cy="876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9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9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6508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23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7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6276529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84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7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62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31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02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98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1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9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557944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6" tIns="45712" rIns="91426" bIns="45712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478" y="350113"/>
            <a:ext cx="11230029" cy="32910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819D7-74CB-4B65-9AC3-D4A2007CCA09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4286599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9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7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3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9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84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9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16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0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26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76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26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32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10969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6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1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42872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00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798187"/>
            <a:ext cx="281940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rgbClr val="4472C4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1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5"/>
          <p:cNvSpPr>
            <a:spLocks noChangeShapeType="1"/>
          </p:cNvSpPr>
          <p:nvPr userDrawn="1"/>
        </p:nvSpPr>
        <p:spPr bwMode="gray">
          <a:xfrm>
            <a:off x="557944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6" tIns="45712" rIns="91426" bIns="45712" anchor="ctr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4478" y="350113"/>
            <a:ext cx="11230029" cy="63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A307D-7663-40BE-AEAC-58931156E481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8580488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75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13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0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85112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396036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8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315312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4549719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13629303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03078472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84364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83" b="31548"/>
          <a:stretch>
            <a:fillRect/>
          </a:stretch>
        </p:blipFill>
        <p:spPr bwMode="auto">
          <a:xfrm>
            <a:off x="7295577" y="5542981"/>
            <a:ext cx="4744433" cy="876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6943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068951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43384421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1414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91604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7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21787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8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330158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249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49634" tIns="62045" rIns="49634" bIns="62045" anchor="ctr">
            <a:noAutofit/>
          </a:bodyPr>
          <a:lstStyle>
            <a:lvl1pPr>
              <a:defRPr sz="3797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797" dirty="0" err="1">
                <a:solidFill>
                  <a:srgbClr val="86CBD8"/>
                </a:solidFill>
              </a:rPr>
              <a:t>Título</a:t>
            </a:r>
            <a:r>
              <a:rPr lang="en-US" sz="3797" dirty="0">
                <a:solidFill>
                  <a:srgbClr val="86CBD8"/>
                </a:solidFill>
              </a:rPr>
              <a:t> </a:t>
            </a:r>
            <a:r>
              <a:rPr lang="en-US" sz="3797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3" y="2221992"/>
            <a:ext cx="10016196" cy="365760"/>
          </a:xfrm>
        </p:spPr>
        <p:txBody>
          <a:bodyPr lIns="49634" tIns="62045" rIns="49634" bIns="62045">
            <a:noAutofit/>
          </a:bodyPr>
          <a:lstStyle>
            <a:lvl1pPr>
              <a:defRPr sz="1687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49634" tIns="62045" rIns="49634" bIns="62045">
            <a:noAutofit/>
          </a:bodyPr>
          <a:lstStyle>
            <a:lvl1pPr>
              <a:defRPr sz="1687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2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004504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3" y="98860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2715529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8859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043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9" y="906468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5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0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9934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2775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6897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634" tIns="62045" rIns="49634" bIns="62045">
            <a:noAutofit/>
          </a:bodyPr>
          <a:lstStyle>
            <a:lvl1pPr>
              <a:defRPr sz="3797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634" tIns="62045" rIns="49634" bIns="62045">
            <a:noAutofit/>
          </a:bodyPr>
          <a:lstStyle>
            <a:lvl1pPr>
              <a:defRPr sz="1406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634" tIns="62045" rIns="49634" bIns="62045">
            <a:noAutofit/>
          </a:bodyPr>
          <a:lstStyle>
            <a:lvl1pPr>
              <a:defRPr sz="1336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0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72470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8351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15" y="1508761"/>
            <a:ext cx="11068060" cy="3997304"/>
          </a:xfrm>
        </p:spPr>
        <p:txBody>
          <a:bodyPr lIns="0" tIns="0" rIns="0" bIns="0"/>
          <a:lstStyle>
            <a:lvl1pPr>
              <a:spcBef>
                <a:spcPts val="366"/>
              </a:spcBef>
              <a:defRPr>
                <a:latin typeface="Arial"/>
                <a:sym typeface="Arial"/>
              </a:defRPr>
            </a:lvl1pPr>
            <a:lvl2pPr marL="436235" indent="-219835">
              <a:spcBef>
                <a:spcPts val="366"/>
              </a:spcBef>
              <a:defRPr>
                <a:latin typeface="Arial"/>
                <a:sym typeface="Arial"/>
              </a:defRPr>
            </a:lvl2pPr>
            <a:lvl3pPr marL="872470" indent="-219835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312141" indent="-223271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64776" indent="-219835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93570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8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15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877" indent="-164877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601111" indent="-219835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7044" indent="-219835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73583" indent="-219835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64776" indent="-219835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90837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15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5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897710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531347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6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9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6" y="159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7" y="1509715"/>
            <a:ext cx="11032068" cy="4613275"/>
          </a:xfrm>
          <a:prstGeom prst="rect">
            <a:avLst/>
          </a:prstGeom>
        </p:spPr>
        <p:txBody>
          <a:bodyPr/>
          <a:lstStyle>
            <a:lvl2pPr marL="437751" indent="-212060">
              <a:defRPr/>
            </a:lvl2pPr>
            <a:lvl3pPr marL="863383" indent="-201456">
              <a:defRPr/>
            </a:lvl3pPr>
            <a:lvl4pPr marL="1305677" indent="-207516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3"/>
          <p:cNvSpPr>
            <a:spLocks noChangeShapeType="1"/>
          </p:cNvSpPr>
          <p:nvPr userDrawn="1"/>
        </p:nvSpPr>
        <p:spPr bwMode="gray">
          <a:xfrm>
            <a:off x="585226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lIns="87250" tIns="43625" rIns="87250" bIns="43625" anchor="ctr"/>
          <a:lstStyle/>
          <a:p>
            <a:pPr algn="ctr" defTabSz="872470">
              <a:defRPr/>
            </a:pPr>
            <a:endParaRPr lang="en-US" sz="1336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585216" y="152408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01151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525936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1844258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3" descr="Picture 3"/>
          <p:cNvPicPr>
            <a:picLocks noChangeAspect="1"/>
          </p:cNvPicPr>
          <p:nvPr/>
        </p:nvPicPr>
        <p:blipFill>
          <a:blip r:embed="rId2"/>
          <a:srcRect l="12" r="55235"/>
          <a:stretch>
            <a:fillRect/>
          </a:stretch>
        </p:blipFill>
        <p:spPr>
          <a:xfrm>
            <a:off x="2093" y="0"/>
            <a:ext cx="726913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5" name="Picture 3" descr="Picture 3"/>
          <p:cNvPicPr>
            <a:picLocks noChangeAspect="1"/>
          </p:cNvPicPr>
          <p:nvPr/>
        </p:nvPicPr>
        <p:blipFill>
          <a:blip r:embed="rId2"/>
          <a:srcRect l="59142"/>
          <a:stretch>
            <a:fillRect/>
          </a:stretch>
        </p:blipFill>
        <p:spPr>
          <a:xfrm>
            <a:off x="5558685" y="0"/>
            <a:ext cx="6636572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904019" y="4328137"/>
            <a:ext cx="287488" cy="282359"/>
          </a:xfrm>
          <a:prstGeom prst="rect">
            <a:avLst/>
          </a:prstGeom>
        </p:spPr>
        <p:txBody>
          <a:bodyPr lIns="124130" tIns="62065" rIns="124130" bIns="62065"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2890084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158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218740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535250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26541983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98921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15480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66799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3146261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46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537402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4272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0451977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7468432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232689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981875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2782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82732009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13630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28362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6"/>
            <a:ext cx="10947400" cy="5175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397000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24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3573" y="5695406"/>
            <a:ext cx="3557543" cy="62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19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6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79075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13771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2661158"/>
            <a:ext cx="9296400" cy="574773"/>
          </a:xfrm>
        </p:spPr>
        <p:txBody>
          <a:bodyPr wrap="square">
            <a:spAutoFit/>
          </a:bodyPr>
          <a:lstStyle>
            <a:lvl1pPr marL="0" indent="0">
              <a:buNone/>
              <a:defRPr sz="3300" b="1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47800" y="3556508"/>
            <a:ext cx="9296400" cy="487056"/>
          </a:xfrm>
        </p:spPr>
        <p:txBody>
          <a:bodyPr wrap="square">
            <a:spAutoFit/>
          </a:bodyPr>
          <a:lstStyle>
            <a:lvl1pPr marL="0" indent="0">
              <a:buNone/>
              <a:defRPr sz="2700" baseline="0">
                <a:solidFill>
                  <a:schemeClr val="bg1"/>
                </a:solidFill>
              </a:defRPr>
            </a:lvl1pPr>
            <a:lvl2pPr>
              <a:defRPr sz="3000">
                <a:solidFill>
                  <a:schemeClr val="bg1"/>
                </a:solidFill>
              </a:defRPr>
            </a:lvl2pPr>
            <a:lvl3pPr>
              <a:defRPr sz="3000">
                <a:solidFill>
                  <a:schemeClr val="bg1"/>
                </a:solidFill>
              </a:defRPr>
            </a:lvl3pPr>
            <a:lvl4pPr>
              <a:defRPr sz="3000">
                <a:solidFill>
                  <a:schemeClr val="bg1"/>
                </a:solidFill>
              </a:defRPr>
            </a:lvl4pPr>
            <a:lvl5pPr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parator text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6306681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2" y="249010"/>
            <a:ext cx="11541581" cy="4953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73" y="1320800"/>
            <a:ext cx="11541580" cy="4946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571" y="631011"/>
            <a:ext cx="11541155" cy="30003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MX" dirty="0" err="1"/>
              <a:t>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461479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4333" y="1320800"/>
            <a:ext cx="5429251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6786" y="1320800"/>
            <a:ext cx="5431367" cy="49466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85721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335" y="314325"/>
            <a:ext cx="11055351" cy="495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174760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6823268" cy="48828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514350" rtl="0" eaLnBrk="1" fontAlgn="base" latinLnBrk="0" hangingPunct="1">
              <a:lnSpc>
                <a:spcPct val="100000"/>
              </a:lnSpc>
              <a:spcBef>
                <a:spcPts val="1238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98227" marR="0" indent="-97334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125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2828925" algn="r"/>
              </a:tabLst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51435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013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450281"/>
            <a:ext cx="1110691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5143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306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86" y="122241"/>
            <a:ext cx="11332633" cy="4270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429686" y="698957"/>
            <a:ext cx="11332633" cy="24583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050"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15896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90797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39329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1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493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14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707290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3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47451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419473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455739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93253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9372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73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376" indent="-164376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99263" indent="-219163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3900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69054" indent="-219163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3057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000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000" dirty="0" err="1">
                <a:solidFill>
                  <a:srgbClr val="86CBD8"/>
                </a:solidFill>
              </a:rPr>
              <a:t>Título</a:t>
            </a:r>
            <a:r>
              <a:rPr lang="en-US" sz="3000" dirty="0">
                <a:solidFill>
                  <a:srgbClr val="86CBD8"/>
                </a:solidFill>
              </a:rPr>
              <a:t> </a:t>
            </a:r>
            <a:r>
              <a:rPr lang="en-US" sz="3000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350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350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4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69172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6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5350444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5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86841459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422509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696178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3" y="1597949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7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14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38054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40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499066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34294007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36576" tIns="45720" rIns="36576" bIns="45720">
            <a:noAutofit/>
          </a:bodyPr>
          <a:lstStyle>
            <a:lvl1pPr>
              <a:defRPr sz="3000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39" y="3968496"/>
            <a:ext cx="5818399" cy="320040"/>
          </a:xfrm>
        </p:spPr>
        <p:txBody>
          <a:bodyPr lIns="36576" tIns="45720" rIns="36576" bIns="45720">
            <a:noAutofit/>
          </a:bodyPr>
          <a:lstStyle>
            <a:lvl1pPr>
              <a:defRPr sz="112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39" y="4462272"/>
            <a:ext cx="5818399" cy="521208"/>
          </a:xfrm>
        </p:spPr>
        <p:txBody>
          <a:bodyPr lIns="36576" tIns="45720" rIns="36576" bIns="45720">
            <a:noAutofit/>
          </a:bodyPr>
          <a:lstStyle>
            <a:lvl1pPr>
              <a:defRPr sz="1050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4" y="6221394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1" y="98854"/>
            <a:ext cx="1111927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00178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288"/>
              </a:spcBef>
              <a:defRPr>
                <a:latin typeface="Arial"/>
                <a:sym typeface="Arial"/>
              </a:defRPr>
            </a:lvl1pPr>
            <a:lvl2pPr marL="342900" indent="-172800">
              <a:spcBef>
                <a:spcPts val="288"/>
              </a:spcBef>
              <a:defRPr>
                <a:latin typeface="Arial"/>
                <a:sym typeface="Arial"/>
              </a:defRPr>
            </a:lvl2pPr>
            <a:lvl3pPr marL="685800" indent="-172800">
              <a:spcBef>
                <a:spcPts val="288"/>
              </a:spcBef>
              <a:defRPr>
                <a:latin typeface="Arial"/>
                <a:sym typeface="Arial"/>
              </a:defRPr>
            </a:lvl3pPr>
            <a:lvl4pPr marL="1031400" indent="-175500">
              <a:spcBef>
                <a:spcPts val="288"/>
              </a:spcBef>
              <a:defRPr>
                <a:latin typeface="Arial"/>
                <a:sym typeface="Arial"/>
              </a:defRPr>
            </a:lvl4pPr>
            <a:lvl5pPr marL="1544400" indent="-172800">
              <a:spcBef>
                <a:spcPts val="288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53920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29600" indent="-129600">
              <a:spcBef>
                <a:spcPts val="288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807300" indent="-172800">
              <a:spcBef>
                <a:spcPts val="288"/>
              </a:spcBef>
              <a:defRPr>
                <a:latin typeface="Arial"/>
                <a:sym typeface="Arial"/>
              </a:defRPr>
            </a:lvl3pPr>
            <a:lvl4pPr marL="1158300" indent="-172800">
              <a:spcBef>
                <a:spcPts val="288"/>
              </a:spcBef>
              <a:defRPr>
                <a:latin typeface="Arial"/>
                <a:sym typeface="Arial"/>
              </a:defRPr>
            </a:lvl4pPr>
            <a:lvl5pPr marL="1544400" indent="-172800">
              <a:spcBef>
                <a:spcPts val="288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68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12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598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849351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0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41382"/>
            <a:ext cx="5133975" cy="591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66"/>
              </a:spcAft>
            </a:pPr>
            <a:r>
              <a:rPr lang="en-US" sz="427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136770"/>
            <a:ext cx="2743200" cy="5918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366"/>
              </a:spcAft>
            </a:pPr>
            <a:r>
              <a:rPr lang="fr-FR" sz="42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71204 - MX2020 KPI Structure v4.pptx</a:t>
            </a:r>
            <a:endParaRPr lang="en-US" sz="427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200" cy="287002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072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7" y="6545571"/>
            <a:ext cx="420927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1955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246855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1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6814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3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3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47136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3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07764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3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48682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5777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1413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5" y="722376"/>
            <a:ext cx="8924544" cy="649224"/>
          </a:xfrm>
        </p:spPr>
        <p:txBody>
          <a:bodyPr lIns="49455" tIns="61853" rIns="49455" bIns="61853" anchor="ctr">
            <a:noAutofit/>
          </a:bodyPr>
          <a:lstStyle>
            <a:lvl1pPr>
              <a:defRPr sz="3797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797" dirty="0" err="1">
                <a:solidFill>
                  <a:srgbClr val="86CBD8"/>
                </a:solidFill>
              </a:rPr>
              <a:t>Título</a:t>
            </a:r>
            <a:r>
              <a:rPr lang="en-US" sz="3797" dirty="0">
                <a:solidFill>
                  <a:srgbClr val="86CBD8"/>
                </a:solidFill>
              </a:rPr>
              <a:t> </a:t>
            </a:r>
            <a:r>
              <a:rPr lang="en-US" sz="3797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3" y="2221992"/>
            <a:ext cx="10016196" cy="365760"/>
          </a:xfrm>
        </p:spPr>
        <p:txBody>
          <a:bodyPr lIns="49455" tIns="61853" rIns="49455" bIns="61853">
            <a:noAutofit/>
          </a:bodyPr>
          <a:lstStyle>
            <a:lvl1pPr>
              <a:defRPr sz="1687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49455" tIns="61853" rIns="49455" bIns="61853">
            <a:noAutofit/>
          </a:bodyPr>
          <a:lstStyle>
            <a:lvl1pPr>
              <a:defRPr sz="1687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2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5664828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3" y="98907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630478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8906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12947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3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324859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646201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500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7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70" y="1308578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6341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6" y="1188720"/>
            <a:ext cx="9115865" cy="649224"/>
          </a:xfrm>
        </p:spPr>
        <p:txBody>
          <a:bodyPr lIns="49455" tIns="61853" rIns="49455" bIns="61853">
            <a:noAutofit/>
          </a:bodyPr>
          <a:lstStyle>
            <a:lvl1pPr>
              <a:defRPr sz="3797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49455" tIns="61853" rIns="49455" bIns="61853">
            <a:noAutofit/>
          </a:bodyPr>
          <a:lstStyle>
            <a:lvl1pPr>
              <a:defRPr sz="1406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49455" tIns="61853" rIns="49455" bIns="61853">
            <a:noAutofit/>
          </a:bodyPr>
          <a:lstStyle>
            <a:lvl1pPr>
              <a:defRPr sz="1336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6" y="6221392"/>
            <a:ext cx="12120516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80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69793"/>
              <a:endParaRPr lang="en-US" sz="1266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960647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73" y="1508761"/>
            <a:ext cx="11068060" cy="3997304"/>
          </a:xfrm>
        </p:spPr>
        <p:txBody>
          <a:bodyPr lIns="0" tIns="0" rIns="0" bIns="0"/>
          <a:lstStyle>
            <a:lvl1pPr>
              <a:spcBef>
                <a:spcPts val="366"/>
              </a:spcBef>
              <a:defRPr>
                <a:latin typeface="Arial"/>
                <a:sym typeface="Arial"/>
              </a:defRPr>
            </a:lvl1pPr>
            <a:lvl2pPr marL="434889" indent="-219163">
              <a:spcBef>
                <a:spcPts val="366"/>
              </a:spcBef>
              <a:defRPr>
                <a:latin typeface="Arial"/>
                <a:sym typeface="Arial"/>
              </a:defRPr>
            </a:lvl2pPr>
            <a:lvl3pPr marL="869793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308106" indent="-222585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31348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73" y="1508401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64376" indent="-164376">
              <a:spcBef>
                <a:spcPts val="366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99263" indent="-219163">
              <a:spcBef>
                <a:spcPts val="366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23900" indent="-219163">
              <a:spcBef>
                <a:spcPts val="366"/>
              </a:spcBef>
              <a:defRPr>
                <a:latin typeface="Arial"/>
                <a:sym typeface="Arial"/>
              </a:defRPr>
            </a:lvl3pPr>
            <a:lvl4pPr marL="1469054" indent="-219163">
              <a:spcBef>
                <a:spcPts val="366"/>
              </a:spcBef>
              <a:defRPr>
                <a:latin typeface="Arial"/>
                <a:sym typeface="Arial"/>
              </a:defRPr>
            </a:lvl4pPr>
            <a:lvl5pPr marL="1958743" indent="-219163">
              <a:spcBef>
                <a:spcPts val="366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4516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73" y="162002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73" y="863601"/>
            <a:ext cx="11068060" cy="320359"/>
          </a:xfrm>
        </p:spPr>
        <p:txBody>
          <a:bodyPr anchor="t">
            <a:normAutofit/>
          </a:bodyPr>
          <a:lstStyle>
            <a:lvl1pPr>
              <a:defRPr sz="1406" b="0">
                <a:solidFill>
                  <a:srgbClr val="73C4E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3832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73609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83" y="164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3" y="164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80033" y="1509715"/>
            <a:ext cx="11032068" cy="4613275"/>
          </a:xfrm>
          <a:prstGeom prst="rect">
            <a:avLst/>
          </a:prstGeom>
        </p:spPr>
        <p:txBody>
          <a:bodyPr/>
          <a:lstStyle>
            <a:lvl2pPr marL="436405" indent="-211430">
              <a:defRPr/>
            </a:lvl2pPr>
            <a:lvl3pPr marL="860734" indent="-200829">
              <a:defRPr/>
            </a:lvl3pPr>
            <a:lvl4pPr marL="1301662" indent="-206889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3"/>
          <p:cNvSpPr>
            <a:spLocks noChangeShapeType="1"/>
          </p:cNvSpPr>
          <p:nvPr userDrawn="1"/>
        </p:nvSpPr>
        <p:spPr bwMode="gray">
          <a:xfrm>
            <a:off x="585285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lIns="86981" tIns="43490" rIns="86981" bIns="43490" anchor="ctr"/>
          <a:lstStyle/>
          <a:p>
            <a:pPr algn="ctr" defTabSz="869793">
              <a:defRPr/>
            </a:pPr>
            <a:endParaRPr lang="en-US" sz="1336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585216" y="152455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31935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4" name="Rectangle 3"/>
          <p:cNvSpPr/>
          <p:nvPr userDrawn="1"/>
        </p:nvSpPr>
        <p:spPr>
          <a:xfrm>
            <a:off x="357863" y="6719991"/>
            <a:ext cx="2058751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21880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3" descr="Picture 3"/>
          <p:cNvPicPr>
            <a:picLocks noChangeAspect="1"/>
          </p:cNvPicPr>
          <p:nvPr/>
        </p:nvPicPr>
        <p:blipFill>
          <a:blip r:embed="rId2"/>
          <a:srcRect l="12" r="55235"/>
          <a:stretch>
            <a:fillRect/>
          </a:stretch>
        </p:blipFill>
        <p:spPr>
          <a:xfrm>
            <a:off x="2093" y="0"/>
            <a:ext cx="7269137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75" name="Picture 3" descr="Picture 3"/>
          <p:cNvPicPr>
            <a:picLocks noChangeAspect="1"/>
          </p:cNvPicPr>
          <p:nvPr/>
        </p:nvPicPr>
        <p:blipFill>
          <a:blip r:embed="rId2"/>
          <a:srcRect l="59142"/>
          <a:stretch>
            <a:fillRect/>
          </a:stretch>
        </p:blipFill>
        <p:spPr>
          <a:xfrm>
            <a:off x="5558685" y="0"/>
            <a:ext cx="6636572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904019" y="4328137"/>
            <a:ext cx="287488" cy="282359"/>
          </a:xfrm>
          <a:prstGeom prst="rect">
            <a:avLst/>
          </a:prstGeom>
        </p:spPr>
        <p:txBody>
          <a:bodyPr lIns="124130" tIns="62065" rIns="124130" bIns="62065"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7460615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8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" name="Group 2"/>
          <p:cNvGrpSpPr/>
          <p:nvPr userDrawn="1"/>
        </p:nvGrpSpPr>
        <p:grpSpPr>
          <a:xfrm>
            <a:off x="0" y="6221393"/>
            <a:ext cx="12191999" cy="574391"/>
            <a:chOff x="0" y="6221393"/>
            <a:chExt cx="12191999" cy="574391"/>
          </a:xfrm>
        </p:grpSpPr>
        <p:pic>
          <p:nvPicPr>
            <p:cNvPr id="71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2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80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80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48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6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217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5" y="906468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35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4472C4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10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7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3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40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67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7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62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0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8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46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4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95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5781332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9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76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9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05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64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0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569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24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92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31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1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67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36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1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83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74605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1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04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77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2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81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8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2" name="Group 71"/>
          <p:cNvGrpSpPr/>
          <p:nvPr userDrawn="1"/>
        </p:nvGrpSpPr>
        <p:grpSpPr>
          <a:xfrm>
            <a:off x="0" y="6221393"/>
            <a:ext cx="12191999" cy="574391"/>
            <a:chOff x="0" y="6221393"/>
            <a:chExt cx="12191999" cy="574391"/>
          </a:xfrm>
        </p:grpSpPr>
        <p:pic>
          <p:nvPicPr>
            <p:cNvPr id="73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4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7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80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80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21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2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1" name="Picture 15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52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3541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2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73C4EF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26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3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91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92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62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32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2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1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93327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49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28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51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15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37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5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27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12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6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0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10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165167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42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6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49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91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37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07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30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4472C4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91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8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1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8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3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8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- 7mar18_vf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50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9" y="1597949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defTabSz="914400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9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10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5422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6596116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2402517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5812108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328854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7700001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51945293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23724175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56454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67616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590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9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9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83802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218210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417624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30716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091137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8585870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9852588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39899159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21771571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0407607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92733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966230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59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8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11158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0731733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4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13615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4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47687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30799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4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292635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74587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450926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34930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34434" y="6440489"/>
            <a:ext cx="461433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87"/>
          <p:cNvSpPr>
            <a:spLocks noGrp="1" noChangeArrowheads="1"/>
          </p:cNvSpPr>
          <p:nvPr>
            <p:ph type="dt" sz="half" idx="11"/>
          </p:nvPr>
        </p:nvSpPr>
        <p:spPr>
          <a:xfrm>
            <a:off x="804333" y="6440489"/>
            <a:ext cx="1422400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xfrm>
            <a:off x="2781300" y="6440489"/>
            <a:ext cx="5427133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8225484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6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59221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6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510469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2560650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86826318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61308333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4135402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4114706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52273990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46359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99346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58501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39058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5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srgbClr val="5356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75042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113481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4155801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7718839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22350245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8543147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41773027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38067361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88080057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96061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118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4000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4000" dirty="0" err="1">
                <a:solidFill>
                  <a:srgbClr val="86CBD8"/>
                </a:solidFill>
              </a:rPr>
              <a:t>Título</a:t>
            </a:r>
            <a:r>
              <a:rPr lang="en-US" sz="4000" dirty="0">
                <a:solidFill>
                  <a:srgbClr val="86CBD8"/>
                </a:solidFill>
              </a:rPr>
              <a:t> </a:t>
            </a:r>
            <a:r>
              <a:rPr lang="en-US" sz="4000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800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3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800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5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554072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01561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662280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098265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084154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144205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623382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5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8866477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41110485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79683128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80023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6195591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94157659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68672291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7951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52657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72674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205462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10835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290433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376613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744393" y="722376"/>
            <a:ext cx="8924544" cy="649224"/>
          </a:xfrm>
        </p:spPr>
        <p:txBody>
          <a:bodyPr lIns="36576" tIns="45720" rIns="36576" bIns="45720" anchor="ctr">
            <a:noAutofit/>
          </a:bodyPr>
          <a:lstStyle>
            <a:lvl1pPr>
              <a:defRPr sz="3692" b="0" baseline="0">
                <a:solidFill>
                  <a:srgbClr val="86CBD8"/>
                </a:solidFill>
              </a:defRPr>
            </a:lvl1pPr>
          </a:lstStyle>
          <a:p>
            <a:pPr lvl="0"/>
            <a:r>
              <a:rPr lang="en-US" sz="3692" dirty="0" err="1">
                <a:solidFill>
                  <a:srgbClr val="86CBD8"/>
                </a:solidFill>
              </a:rPr>
              <a:t>Título</a:t>
            </a:r>
            <a:r>
              <a:rPr lang="en-US" sz="3692" dirty="0">
                <a:solidFill>
                  <a:srgbClr val="86CBD8"/>
                </a:solidFill>
              </a:rPr>
              <a:t> </a:t>
            </a:r>
            <a:r>
              <a:rPr lang="en-US" sz="3692" dirty="0" err="1">
                <a:solidFill>
                  <a:srgbClr val="86CBD8"/>
                </a:solidFill>
              </a:rPr>
              <a:t>Presentació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1789411" y="2221992"/>
            <a:ext cx="10016197" cy="365760"/>
          </a:xfrm>
        </p:spPr>
        <p:txBody>
          <a:bodyPr lIns="36576" tIns="45720" rIns="36576" bIns="45720">
            <a:noAutofit/>
          </a:bodyPr>
          <a:lstStyle>
            <a:lvl1pPr>
              <a:defRPr sz="1662" b="1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789411" y="4983480"/>
            <a:ext cx="9340948" cy="365760"/>
          </a:xfrm>
        </p:spPr>
        <p:txBody>
          <a:bodyPr lIns="36576" tIns="45720" rIns="36576" bIns="45720">
            <a:noAutofit/>
          </a:bodyPr>
          <a:lstStyle>
            <a:lvl1pPr>
              <a:defRPr sz="1662" b="0" baseline="0">
                <a:solidFill>
                  <a:srgbClr val="7C1A4F"/>
                </a:solidFill>
              </a:defRPr>
            </a:lvl1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pic>
        <p:nvPicPr>
          <p:cNvPr id="9" name="footer-13.jpg" descr="footer-13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6221393"/>
            <a:ext cx="12192000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1780717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822455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DA2B5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7C194F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13691" y="98855"/>
            <a:ext cx="1113676" cy="6105595"/>
            <a:chOff x="160238" y="154880"/>
            <a:chExt cx="1300907" cy="8777933"/>
          </a:xfrm>
        </p:grpSpPr>
        <p:sp>
          <p:nvSpPr>
            <p:cNvPr id="9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02287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5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31235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EE4228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F69427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FCBA1A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8854"/>
            <a:ext cx="1113676" cy="6105595"/>
            <a:chOff x="160238" y="162796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38560402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83935320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147702515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8023923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3692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385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292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3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lang="en-US" sz="1662" dirty="0"/>
            </a:p>
          </p:txBody>
        </p:sp>
      </p:grpSp>
    </p:spTree>
    <p:extLst>
      <p:ext uri="{BB962C8B-B14F-4D97-AF65-F5344CB8AC3E}">
        <p14:creationId xmlns:p14="http://schemas.microsoft.com/office/powerpoint/2010/main" val="27221507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9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54"/>
              </a:spcBef>
              <a:defRPr>
                <a:latin typeface="Arial"/>
                <a:sym typeface="Arial"/>
              </a:defRPr>
            </a:lvl1pPr>
            <a:lvl2pPr marL="422041" indent="-212682">
              <a:spcBef>
                <a:spcPts val="354"/>
              </a:spcBef>
              <a:defRPr>
                <a:latin typeface="Arial"/>
                <a:sym typeface="Arial"/>
              </a:defRPr>
            </a:lvl2pPr>
            <a:lvl3pPr marL="844083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269447" indent="-216005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18579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09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59512" indent="-159512">
              <a:spcBef>
                <a:spcPts val="35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993625" indent="-212682">
              <a:spcBef>
                <a:spcPts val="354"/>
              </a:spcBef>
              <a:defRPr>
                <a:latin typeface="Arial"/>
                <a:sym typeface="Arial"/>
              </a:defRPr>
            </a:lvl3pPr>
            <a:lvl4pPr marL="1425636" indent="-212682">
              <a:spcBef>
                <a:spcPts val="354"/>
              </a:spcBef>
              <a:defRPr>
                <a:latin typeface="Arial"/>
                <a:sym typeface="Arial"/>
              </a:defRPr>
            </a:lvl4pPr>
            <a:lvl5pPr marL="1900848" indent="-212682">
              <a:spcBef>
                <a:spcPts val="35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20547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09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09" y="863601"/>
            <a:ext cx="11068060" cy="320359"/>
          </a:xfrm>
        </p:spPr>
        <p:txBody>
          <a:bodyPr anchor="t">
            <a:normAutofit/>
          </a:bodyPr>
          <a:lstStyle>
            <a:lvl1pPr>
              <a:defRPr sz="1385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92437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01476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34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007272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00C0B6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00A6AB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3691" y="99934"/>
            <a:ext cx="1113676" cy="6105588"/>
            <a:chOff x="90616" y="113613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96598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21766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6"/>
            <a:ext cx="3319272" cy="365125"/>
          </a:xfrm>
          <a:prstGeom prst="rect">
            <a:avLst/>
          </a:prstGeom>
        </p:spPr>
        <p:txBody>
          <a:bodyPr vert="horz" lIns="91426" tIns="45712" rIns="91426" bIns="4571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6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4" y="6480627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64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0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73A600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AABA35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94B301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9116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70147B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8B4093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63006C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15939" y="99934"/>
            <a:ext cx="1113675" cy="6105588"/>
            <a:chOff x="1081465" y="114688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49440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721885" y="1188720"/>
            <a:ext cx="9115864" cy="649224"/>
          </a:xfrm>
        </p:spPr>
        <p:txBody>
          <a:bodyPr lIns="36576" tIns="45720" rIns="36576" bIns="45720">
            <a:noAutofit/>
          </a:bodyPr>
          <a:lstStyle>
            <a:lvl1pPr>
              <a:defRPr sz="4000" b="0" baseline="0">
                <a:solidFill>
                  <a:srgbClr val="016AA1"/>
                </a:solidFill>
              </a:defRPr>
            </a:lvl1pPr>
          </a:lstStyle>
          <a:p>
            <a:pPr lvl="0"/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33140" y="3968496"/>
            <a:ext cx="5818397" cy="320040"/>
          </a:xfrm>
        </p:spPr>
        <p:txBody>
          <a:bodyPr lIns="36576" tIns="45720" rIns="36576" bIns="45720">
            <a:noAutofit/>
          </a:bodyPr>
          <a:lstStyle>
            <a:lvl1pPr>
              <a:defRPr sz="1500" b="0">
                <a:solidFill>
                  <a:srgbClr val="104D6A"/>
                </a:solidFill>
              </a:defRPr>
            </a:lvl1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separador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1733140" y="4462272"/>
            <a:ext cx="5818397" cy="521208"/>
          </a:xfrm>
        </p:spPr>
        <p:txBody>
          <a:bodyPr lIns="36576" tIns="45720" rIns="36576" bIns="45720">
            <a:noAutofit/>
          </a:bodyPr>
          <a:lstStyle>
            <a:lvl1pPr>
              <a:defRPr sz="1400" b="0">
                <a:solidFill>
                  <a:srgbClr val="2591C0"/>
                </a:solidFill>
              </a:defRPr>
            </a:lvl1pPr>
          </a:lstStyle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  <a:p>
            <a:pPr lvl="0"/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Cuerpo</a:t>
            </a:r>
            <a:r>
              <a:rPr lang="en-US" dirty="0"/>
              <a:t> de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20" name="footer-13.jpg" descr="footer-13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1483" y="6221395"/>
            <a:ext cx="12120517" cy="57439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 20"/>
          <p:cNvGrpSpPr/>
          <p:nvPr userDrawn="1"/>
        </p:nvGrpSpPr>
        <p:grpSpPr>
          <a:xfrm>
            <a:off x="209179" y="98854"/>
            <a:ext cx="1111928" cy="6096000"/>
            <a:chOff x="160238" y="154880"/>
            <a:chExt cx="1300907" cy="8777933"/>
          </a:xfrm>
        </p:grpSpPr>
        <p:sp>
          <p:nvSpPr>
            <p:cNvPr id="2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  <p:sp>
          <p:nvSpPr>
            <p:cNvPr id="2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lang="en-US" sz="1800" dirty="0">
                <a:solidFill>
                  <a:srgbClr val="002D7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398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6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3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2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1629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10" y="1508760"/>
            <a:ext cx="11068060" cy="3997304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Arial"/>
                <a:sym typeface="Arial"/>
              </a:defRPr>
            </a:lvl1pPr>
            <a:lvl2pPr marL="457200" indent="-230400">
              <a:spcBef>
                <a:spcPts val="384"/>
              </a:spcBef>
              <a:defRPr>
                <a:latin typeface="Arial"/>
                <a:sym typeface="Arial"/>
              </a:defRPr>
            </a:lvl2pPr>
            <a:lvl3pPr marL="914400" indent="-230400">
              <a:spcBef>
                <a:spcPts val="384"/>
              </a:spcBef>
              <a:defRPr>
                <a:latin typeface="Arial"/>
                <a:sym typeface="Arial"/>
              </a:defRPr>
            </a:lvl3pPr>
            <a:lvl4pPr marL="1375200" indent="-234000">
              <a:spcBef>
                <a:spcPts val="384"/>
              </a:spcBef>
              <a:defRPr>
                <a:latin typeface="Arial"/>
                <a:sym typeface="Arial"/>
              </a:defRPr>
            </a:lvl4pPr>
            <a:lvl5pPr marL="2059200" indent="-230400">
              <a:spcBef>
                <a:spcPts val="38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7525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7"/>
          <p:cNvSpPr>
            <a:spLocks noGrp="1"/>
          </p:cNvSpPr>
          <p:nvPr userDrawn="1">
            <p:ph type="body" sz="quarter" idx="13"/>
          </p:nvPr>
        </p:nvSpPr>
        <p:spPr>
          <a:xfrm>
            <a:off x="562710" y="1508400"/>
            <a:ext cx="11068060" cy="3997304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rgbClr val="002D72"/>
              </a:buClr>
              <a:buFont typeface="Arial" pitchFamily="34" charset="0"/>
              <a:buChar char="•"/>
              <a:tabLst/>
              <a:defRPr b="0">
                <a:latin typeface="Arial"/>
                <a:sym typeface="Arial"/>
              </a:defRPr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>
                <a:latin typeface="Arial"/>
                <a:sym typeface="Arial"/>
              </a:defRPr>
            </a:lvl2pPr>
            <a:lvl3pPr marL="1076400" indent="-230400">
              <a:spcBef>
                <a:spcPts val="384"/>
              </a:spcBef>
              <a:defRPr>
                <a:latin typeface="Arial"/>
                <a:sym typeface="Arial"/>
              </a:defRPr>
            </a:lvl3pPr>
            <a:lvl4pPr marL="1544400" indent="-230400">
              <a:spcBef>
                <a:spcPts val="384"/>
              </a:spcBef>
              <a:defRPr>
                <a:latin typeface="Arial"/>
                <a:sym typeface="Arial"/>
              </a:defRPr>
            </a:lvl4pPr>
            <a:lvl5pPr marL="2059200" indent="-230400">
              <a:spcBef>
                <a:spcPts val="384"/>
              </a:spcBef>
              <a:defRPr>
                <a:latin typeface="Arial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9275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8060" cy="704087"/>
          </a:xfrm>
        </p:spPr>
        <p:txBody>
          <a:bodyPr anchor="t"/>
          <a:lstStyle>
            <a:lvl1pPr>
              <a:defRPr>
                <a:latin typeface="Arial"/>
                <a:sym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2710" y="863601"/>
            <a:ext cx="11068060" cy="320359"/>
          </a:xfrm>
        </p:spPr>
        <p:txBody>
          <a:bodyPr anchor="t">
            <a:normAutofit/>
          </a:bodyPr>
          <a:lstStyle>
            <a:lvl1pPr>
              <a:defRPr sz="1500" b="0">
                <a:solidFill>
                  <a:srgbClr val="73C4EF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4155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636031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6" y="906466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6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3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35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419444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8472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6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3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2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934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lIns="91426" tIns="45712" rIns="91426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125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0" y="1597948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45712" rIns="91426" bIns="45712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6806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lIns="91426" tIns="45712" rIns="91426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2400">
              <a:solidFill>
                <a:srgbClr val="002D72"/>
              </a:solidFill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25876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6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6" tIns="45712" rIns="91426" bIns="45712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0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0" y="905252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48872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7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7134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5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8280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3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16376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d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730" y="21107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1" y="98856"/>
            <a:ext cx="1206483" cy="6105595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ED207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BF1D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82245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DA2C5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52905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31501" y="98855"/>
            <a:ext cx="1206483" cy="6105595"/>
            <a:chOff x="160238" y="162796"/>
            <a:chExt cx="1300907" cy="8777933"/>
          </a:xfrm>
        </p:grpSpPr>
        <p:sp>
          <p:nvSpPr>
            <p:cNvPr id="15" name="Rectangle"/>
            <p:cNvSpPr/>
            <p:nvPr userDrawn="1"/>
          </p:nvSpPr>
          <p:spPr>
            <a:xfrm>
              <a:off x="160238" y="8406287"/>
              <a:ext cx="1300907" cy="534442"/>
            </a:xfrm>
            <a:prstGeom prst="rect">
              <a:avLst/>
            </a:prstGeom>
            <a:solidFill>
              <a:srgbClr val="D91F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8191280"/>
              <a:ext cx="1300907" cy="215008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6203779"/>
              <a:ext cx="1300907" cy="1987502"/>
            </a:xfrm>
            <a:prstGeom prst="rect">
              <a:avLst/>
            </a:prstGeom>
            <a:solidFill>
              <a:srgbClr val="FBB91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5732341"/>
              <a:ext cx="1300907" cy="471439"/>
            </a:xfrm>
            <a:prstGeom prst="rect">
              <a:avLst/>
            </a:prstGeom>
            <a:solidFill>
              <a:srgbClr val="F69427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379093"/>
              <a:ext cx="1300907" cy="813396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1192488"/>
              <a:ext cx="1300907" cy="4539854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162796"/>
              <a:ext cx="1300907" cy="216298"/>
            </a:xfrm>
            <a:prstGeom prst="rect">
              <a:avLst/>
            </a:prstGeom>
            <a:solidFill>
              <a:srgbClr val="BF21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2579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1501" y="99934"/>
            <a:ext cx="1206483" cy="6105588"/>
            <a:chOff x="90616" y="113613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90616" y="8357104"/>
              <a:ext cx="1300907" cy="534442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90616" y="8142097"/>
              <a:ext cx="1300907" cy="215008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90616" y="6154596"/>
              <a:ext cx="1300907" cy="1987502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90616" y="5683158"/>
              <a:ext cx="1300907" cy="471439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90616" y="329910"/>
              <a:ext cx="1300907" cy="813396"/>
            </a:xfrm>
            <a:prstGeom prst="rect">
              <a:avLst/>
            </a:prstGeom>
            <a:solidFill>
              <a:srgbClr val="00C0B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90616" y="1143305"/>
              <a:ext cx="1300907" cy="4539854"/>
            </a:xfrm>
            <a:prstGeom prst="rect">
              <a:avLst/>
            </a:prstGeom>
            <a:solidFill>
              <a:srgbClr val="007272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90616" y="113613"/>
              <a:ext cx="1300907" cy="216298"/>
            </a:xfrm>
            <a:prstGeom prst="rect">
              <a:avLst/>
            </a:prstGeom>
            <a:solidFill>
              <a:srgbClr val="00A6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13892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6" y="99934"/>
            <a:ext cx="1206481" cy="6105588"/>
            <a:chOff x="160238" y="154880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AABA3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CEDD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73A60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94B30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10965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24" y="14846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33934" y="99934"/>
            <a:ext cx="1206481" cy="6105588"/>
            <a:chOff x="1081465" y="114688"/>
            <a:chExt cx="1300907" cy="8777933"/>
          </a:xfrm>
        </p:grpSpPr>
        <p:sp>
          <p:nvSpPr>
            <p:cNvPr id="8" name="Rectangle"/>
            <p:cNvSpPr/>
            <p:nvPr userDrawn="1"/>
          </p:nvSpPr>
          <p:spPr>
            <a:xfrm>
              <a:off x="1081465" y="8358179"/>
              <a:ext cx="1300907" cy="534442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9" name="Rectangle"/>
            <p:cNvSpPr/>
            <p:nvPr userDrawn="1"/>
          </p:nvSpPr>
          <p:spPr>
            <a:xfrm>
              <a:off x="1081465" y="8143172"/>
              <a:ext cx="1300907" cy="215008"/>
            </a:xfrm>
            <a:prstGeom prst="rect">
              <a:avLst/>
            </a:prstGeom>
            <a:solidFill>
              <a:srgbClr val="A469A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0" name="Rectangle"/>
            <p:cNvSpPr/>
            <p:nvPr userDrawn="1"/>
          </p:nvSpPr>
          <p:spPr>
            <a:xfrm>
              <a:off x="1081465" y="6155671"/>
              <a:ext cx="1300907" cy="1987502"/>
            </a:xfrm>
            <a:prstGeom prst="rect">
              <a:avLst/>
            </a:prstGeom>
            <a:solidFill>
              <a:srgbClr val="63006C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1" name="Rectangle"/>
            <p:cNvSpPr/>
            <p:nvPr userDrawn="1"/>
          </p:nvSpPr>
          <p:spPr>
            <a:xfrm>
              <a:off x="1081465" y="5684233"/>
              <a:ext cx="1300907" cy="471439"/>
            </a:xfrm>
            <a:prstGeom prst="rect">
              <a:avLst/>
            </a:prstGeom>
            <a:solidFill>
              <a:srgbClr val="8B4193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2" name="Rectangle"/>
            <p:cNvSpPr/>
            <p:nvPr userDrawn="1"/>
          </p:nvSpPr>
          <p:spPr>
            <a:xfrm>
              <a:off x="1081465" y="330985"/>
              <a:ext cx="1300907" cy="813396"/>
            </a:xfrm>
            <a:prstGeom prst="rect">
              <a:avLst/>
            </a:prstGeom>
            <a:solidFill>
              <a:srgbClr val="8C4395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081465" y="1144380"/>
              <a:ext cx="1300907" cy="4539854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081465" y="114688"/>
              <a:ext cx="1300907" cy="216298"/>
            </a:xfrm>
            <a:prstGeom prst="rect">
              <a:avLst/>
            </a:prstGeom>
            <a:solidFill>
              <a:srgbClr val="70147B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914400"/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38750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" y="0"/>
            <a:ext cx="120931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057376" y="6356355"/>
            <a:ext cx="3319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asted-image.pdf" descr="pasted-image.pd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794" y="6356355"/>
            <a:ext cx="736953" cy="365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013" y="6480626"/>
            <a:ext cx="1561852" cy="20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77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70" y="1597948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45712" rIns="91426" bIns="45712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rgbClr val="FFFFFF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fontAlgn="base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9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53565A"/>
                </a:solidFill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9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160" indent="0" algn="l">
              <a:buNone/>
              <a:defRPr sz="3600">
                <a:solidFill>
                  <a:schemeClr val="bg1"/>
                </a:solidFill>
              </a:defRPr>
            </a:lvl2pPr>
            <a:lvl3pPr marL="747592" indent="0" algn="l">
              <a:buNone/>
              <a:defRPr sz="3600">
                <a:solidFill>
                  <a:schemeClr val="bg1"/>
                </a:solidFill>
              </a:defRPr>
            </a:lvl3pPr>
            <a:lvl4pPr marL="1088850" indent="0" algn="l">
              <a:buNone/>
              <a:defRPr sz="3600">
                <a:solidFill>
                  <a:schemeClr val="bg1"/>
                </a:solidFill>
              </a:defRPr>
            </a:lvl4pPr>
            <a:lvl5pPr marL="1426933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9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160" indent="0" algn="l">
              <a:buNone/>
              <a:defRPr sz="2400">
                <a:solidFill>
                  <a:srgbClr val="00B3F0"/>
                </a:solidFill>
              </a:defRPr>
            </a:lvl2pPr>
            <a:lvl3pPr marL="747592" indent="0" algn="l">
              <a:buNone/>
              <a:defRPr sz="2400">
                <a:solidFill>
                  <a:srgbClr val="00B3F0"/>
                </a:solidFill>
              </a:defRPr>
            </a:lvl3pPr>
            <a:lvl4pPr marL="1088850" indent="0" algn="l">
              <a:buNone/>
              <a:defRPr sz="2400">
                <a:solidFill>
                  <a:srgbClr val="00B3F0"/>
                </a:solidFill>
              </a:defRPr>
            </a:lvl4pPr>
            <a:lvl5pPr marL="1426933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54848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"/>
          <p:cNvSpPr>
            <a:spLocks noChangeShapeType="1"/>
          </p:cNvSpPr>
          <p:nvPr userDrawn="1"/>
        </p:nvSpPr>
        <p:spPr bwMode="gray">
          <a:xfrm>
            <a:off x="585225" y="996696"/>
            <a:ext cx="11033759" cy="0"/>
          </a:xfrm>
          <a:prstGeom prst="line">
            <a:avLst/>
          </a:prstGeom>
          <a:noFill/>
          <a:ln w="12700">
            <a:solidFill>
              <a:srgbClr val="002D7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>
              <a:defRPr/>
            </a:pPr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Title Placeholder 9"/>
          <p:cNvSpPr>
            <a:spLocks noGrp="1"/>
          </p:cNvSpPr>
          <p:nvPr>
            <p:ph type="title"/>
          </p:nvPr>
        </p:nvSpPr>
        <p:spPr>
          <a:xfrm>
            <a:off x="585216" y="152401"/>
            <a:ext cx="11033760" cy="8096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80724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4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0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89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380FF-0397-644C-B316-9BC79B505A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4695688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A4395-16C9-6F44-AB3C-C7A6087BA6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35944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1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147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s-ES_tradnl" sz="1800">
              <a:solidFill>
                <a:schemeClr val="tx2"/>
              </a:solidFill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3227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7" y="1597945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l" eaLnBrk="1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</a:br>
            <a:r>
              <a:rPr lang="es-ES_tradnl" sz="3600" dirty="0">
                <a:solidFill>
                  <a:schemeClr val="bg1"/>
                </a:solidFill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algn="l" eaLnBrk="1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Aquí van los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reditos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e la cita;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lore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ipsum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dolor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si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met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consectetur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 </a:t>
            </a:r>
            <a:r>
              <a:rPr lang="es-ES_tradnl" sz="2000" dirty="0" err="1">
                <a:solidFill>
                  <a:srgbClr val="00BDF2"/>
                </a:solidFill>
                <a:ea typeface="Arial" charset="0"/>
                <a:cs typeface="Geneva" charset="0"/>
              </a:rPr>
              <a:t>adipiscing</a:t>
            </a:r>
            <a:r>
              <a:rPr lang="es-ES_tradnl" sz="2000" dirty="0">
                <a:solidFill>
                  <a:srgbClr val="00BDF2"/>
                </a:solidFill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US" sz="1800"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242301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7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Geneva" charset="0"/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8" y="411957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8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93552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5" y="1308575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485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266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5" y="234066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6" tIns="45712" rIns="91426" bIns="45712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70" y="411960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70" y="905252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160" indent="0">
              <a:buNone/>
              <a:defRPr sz="2400">
                <a:solidFill>
                  <a:srgbClr val="004785"/>
                </a:solidFill>
              </a:defRPr>
            </a:lvl2pPr>
            <a:lvl3pPr marL="747592" indent="0">
              <a:buNone/>
              <a:defRPr sz="2400">
                <a:solidFill>
                  <a:srgbClr val="004785"/>
                </a:solidFill>
              </a:defRPr>
            </a:lvl3pPr>
            <a:lvl4pPr marL="1088850" indent="0">
              <a:buNone/>
              <a:defRPr sz="2400">
                <a:solidFill>
                  <a:srgbClr val="004785"/>
                </a:solidFill>
              </a:defRPr>
            </a:lvl4pPr>
            <a:lvl5pPr marL="1426933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91711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95663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Rectangle 78"/>
          <p:cNvSpPr>
            <a:spLocks noGrp="1" noChangeArrowheads="1"/>
          </p:cNvSpPr>
          <p:nvPr>
            <p:ph type="ctrTitle"/>
          </p:nvPr>
        </p:nvSpPr>
        <p:spPr>
          <a:xfrm>
            <a:off x="804333" y="906464"/>
            <a:ext cx="10947400" cy="5175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04334" y="1423988"/>
            <a:ext cx="10962217" cy="109378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3200">
                <a:solidFill>
                  <a:srgbClr val="00BDF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210" y="4844121"/>
            <a:ext cx="4743391" cy="230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1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2C380FF-0397-644C-B316-9BC79B505A0E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6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412852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53A4395-16C9-6F44-AB3C-C7A6087BA63D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Rectangle 8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Rectangle 9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789832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ORTADA 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9377"/>
            <a:ext cx="12283621" cy="696224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>
          <a:xfrm>
            <a:off x="819151" y="3311525"/>
            <a:ext cx="10947400" cy="517525"/>
          </a:xfrm>
        </p:spPr>
        <p:txBody>
          <a:bodyPr/>
          <a:lstStyle/>
          <a:p>
            <a:pPr>
              <a:defRPr/>
            </a:pPr>
            <a:r>
              <a:rPr lang="es-ES_tradnl" sz="3200" dirty="0">
                <a:solidFill>
                  <a:schemeClr val="bg1"/>
                </a:solidFill>
              </a:rPr>
              <a:t>T</a:t>
            </a:r>
            <a:r>
              <a:rPr lang="en-US" sz="3200" dirty="0" err="1">
                <a:solidFill>
                  <a:schemeClr val="bg1"/>
                </a:solidFill>
              </a:rPr>
              <a:t>í</a:t>
            </a:r>
            <a:r>
              <a:rPr lang="es-ES_tradnl" sz="3200" dirty="0" err="1">
                <a:solidFill>
                  <a:schemeClr val="bg1"/>
                </a:solidFill>
              </a:rPr>
              <a:t>tulo</a:t>
            </a:r>
            <a:r>
              <a:rPr lang="es-ES_tradnl" sz="3200" dirty="0">
                <a:solidFill>
                  <a:schemeClr val="bg1"/>
                </a:solidFill>
              </a:rPr>
              <a:t> va aquí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sz="quarter" idx="4294967295"/>
          </p:nvPr>
        </p:nvSpPr>
        <p:spPr>
          <a:xfrm>
            <a:off x="823384" y="3829051"/>
            <a:ext cx="10962216" cy="1014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0" rIns="0" bIns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lvl1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s-ES_tradnl" sz="3200" dirty="0">
                <a:solidFill>
                  <a:srgbClr val="00BDF2"/>
                </a:solidFill>
              </a:rPr>
              <a:t>Subtitulo va aquí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360" y="4843463"/>
            <a:ext cx="4754651" cy="23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7488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24676" y="0"/>
            <a:ext cx="12192000" cy="6858000"/>
          </a:xfrm>
          <a:prstGeom prst="rect">
            <a:avLst/>
          </a:prstGeom>
          <a:solidFill>
            <a:srgbClr val="002D7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2400" b="0" i="0" u="none" strike="noStrike" kern="1200" cap="none" spc="0" normalizeH="0" baseline="0" noProof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grpSp>
        <p:nvGrpSpPr>
          <p:cNvPr id="7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8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9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0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11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43091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3" name="Rectangle 6"/>
          <p:cNvSpPr txBox="1">
            <a:spLocks noChangeArrowheads="1"/>
          </p:cNvSpPr>
          <p:nvPr userDrawn="1"/>
        </p:nvSpPr>
        <p:spPr bwMode="black">
          <a:xfrm>
            <a:off x="2399967" y="1597945"/>
            <a:ext cx="7342716" cy="44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Una cita puede ser colocada aquí. Una gran hoja sirve de transición </a:t>
            </a:r>
            <a:b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</a:br>
            <a:r>
              <a:rPr kumimoji="0" lang="es-ES_tradnl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y crea una pausa para tus clientes para digerir mejor la información. </a:t>
            </a:r>
          </a:p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quí van los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creditos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de la cita;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lorem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ipsum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dolor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sit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met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consectetur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 </a:t>
            </a:r>
            <a:r>
              <a:rPr kumimoji="0" lang="es-ES_tradnl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adipiscing</a:t>
            </a:r>
            <a:r>
              <a:rPr kumimoji="0" lang="es-ES_tradnl" sz="2000" b="0" i="0" u="none" strike="noStrike" kern="1200" cap="none" spc="0" normalizeH="0" baseline="0" noProof="0" dirty="0">
                <a:ln>
                  <a:noFill/>
                </a:ln>
                <a:solidFill>
                  <a:srgbClr val="00BDF2"/>
                </a:solidFill>
                <a:effectLst/>
                <a:uLnTx/>
                <a:uFillTx/>
                <a:latin typeface="Arial" charset="0"/>
                <a:ea typeface="Arial" charset="0"/>
                <a:cs typeface="Geneva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grpSp>
        <p:nvGrpSpPr>
          <p:cNvPr id="15" name="Group 24"/>
          <p:cNvGrpSpPr>
            <a:grpSpLocks/>
          </p:cNvGrpSpPr>
          <p:nvPr userDrawn="1"/>
        </p:nvGrpSpPr>
        <p:grpSpPr bwMode="auto">
          <a:xfrm>
            <a:off x="490519" y="391003"/>
            <a:ext cx="1233216" cy="615424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8" name="Group 25"/>
          <p:cNvGrpSpPr>
            <a:grpSpLocks/>
          </p:cNvGrpSpPr>
          <p:nvPr userDrawn="1"/>
        </p:nvGrpSpPr>
        <p:grpSpPr bwMode="auto">
          <a:xfrm flipH="1" flipV="1">
            <a:off x="10549240" y="6005506"/>
            <a:ext cx="1233216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9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20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sp>
        <p:nvSpPr>
          <p:cNvPr id="21" name="Text Placeholder 23"/>
          <p:cNvSpPr>
            <a:spLocks noGrp="1"/>
          </p:cNvSpPr>
          <p:nvPr>
            <p:ph type="body" sz="quarter" idx="13"/>
          </p:nvPr>
        </p:nvSpPr>
        <p:spPr>
          <a:xfrm>
            <a:off x="2357968" y="1006427"/>
            <a:ext cx="8191273" cy="3686224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03225" indent="0" algn="l">
              <a:buNone/>
              <a:defRPr sz="3600">
                <a:solidFill>
                  <a:schemeClr val="bg1"/>
                </a:solidFill>
              </a:defRPr>
            </a:lvl2pPr>
            <a:lvl3pPr marL="747712" indent="0" algn="l">
              <a:buNone/>
              <a:defRPr sz="3600">
                <a:solidFill>
                  <a:schemeClr val="bg1"/>
                </a:solidFill>
              </a:defRPr>
            </a:lvl3pPr>
            <a:lvl4pPr marL="1089025" indent="0" algn="l">
              <a:buNone/>
              <a:defRPr sz="3600">
                <a:solidFill>
                  <a:schemeClr val="bg1"/>
                </a:solidFill>
              </a:defRPr>
            </a:lvl4pPr>
            <a:lvl5pPr marL="1427162" indent="0" algn="l"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2357968" y="4944980"/>
            <a:ext cx="8191273" cy="1335504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B3F0"/>
                </a:solidFill>
              </a:defRPr>
            </a:lvl1pPr>
            <a:lvl2pPr marL="403225" indent="0" algn="l">
              <a:buNone/>
              <a:defRPr sz="2400">
                <a:solidFill>
                  <a:srgbClr val="00B3F0"/>
                </a:solidFill>
              </a:defRPr>
            </a:lvl2pPr>
            <a:lvl3pPr marL="747712" indent="0" algn="l">
              <a:buNone/>
              <a:defRPr sz="2400">
                <a:solidFill>
                  <a:srgbClr val="00B3F0"/>
                </a:solidFill>
              </a:defRPr>
            </a:lvl3pPr>
            <a:lvl4pPr marL="1089025" indent="0" algn="l">
              <a:buNone/>
              <a:defRPr sz="2400">
                <a:solidFill>
                  <a:srgbClr val="00B3F0"/>
                </a:solidFill>
              </a:defRPr>
            </a:lvl4pPr>
            <a:lvl5pPr marL="1427162" indent="0" algn="l">
              <a:buNone/>
              <a:defRPr sz="2400">
                <a:solidFill>
                  <a:srgbClr val="00B3F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18508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Rounded Rectangle 23"/>
          <p:cNvSpPr/>
          <p:nvPr userDrawn="1"/>
        </p:nvSpPr>
        <p:spPr bwMode="auto">
          <a:xfrm>
            <a:off x="-288757" y="234065"/>
            <a:ext cx="12199241" cy="1342366"/>
          </a:xfrm>
          <a:prstGeom prst="roundRect">
            <a:avLst/>
          </a:prstGeom>
          <a:solidFill>
            <a:schemeClr val="bg1">
              <a:alpha val="3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0"/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795868" y="411957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4785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795868" y="905249"/>
            <a:ext cx="11114617" cy="418223"/>
          </a:xfrm>
        </p:spPr>
        <p:txBody>
          <a:bodyPr/>
          <a:lstStyle>
            <a:lvl1pPr marL="0" indent="0">
              <a:buNone/>
              <a:defRPr sz="2400">
                <a:solidFill>
                  <a:srgbClr val="00B3F0"/>
                </a:solidFill>
              </a:defRPr>
            </a:lvl1pPr>
            <a:lvl2pPr marL="403225" indent="0">
              <a:buNone/>
              <a:defRPr sz="2400">
                <a:solidFill>
                  <a:srgbClr val="004785"/>
                </a:solidFill>
              </a:defRPr>
            </a:lvl2pPr>
            <a:lvl3pPr marL="747712" indent="0">
              <a:buNone/>
              <a:defRPr sz="2400">
                <a:solidFill>
                  <a:srgbClr val="004785"/>
                </a:solidFill>
              </a:defRPr>
            </a:lvl3pPr>
            <a:lvl4pPr marL="1089025" indent="0">
              <a:buNone/>
              <a:defRPr sz="2400">
                <a:solidFill>
                  <a:srgbClr val="004785"/>
                </a:solidFill>
              </a:defRPr>
            </a:lvl4pPr>
            <a:lvl5pPr marL="1427162" indent="0">
              <a:buNone/>
              <a:defRPr sz="2400">
                <a:solidFill>
                  <a:srgbClr val="004785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8653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2" y="-37910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5" y="1308575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2719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 flipH="1">
            <a:off x="226609" y="98856"/>
            <a:ext cx="1203763" cy="6096001"/>
            <a:chOff x="160238" y="148877"/>
            <a:chExt cx="1300907" cy="8783936"/>
          </a:xfrm>
        </p:grpSpPr>
        <p:sp>
          <p:nvSpPr>
            <p:cNvPr id="16" name="Rectangle"/>
            <p:cNvSpPr/>
            <p:nvPr userDrawn="1"/>
          </p:nvSpPr>
          <p:spPr>
            <a:xfrm>
              <a:off x="160238" y="7811988"/>
              <a:ext cx="1300907" cy="1120825"/>
            </a:xfrm>
            <a:prstGeom prst="rect">
              <a:avLst/>
            </a:prstGeom>
            <a:solidFill>
              <a:srgbClr val="C4297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7090072"/>
              <a:ext cx="1300907" cy="721917"/>
            </a:xfrm>
            <a:prstGeom prst="rect">
              <a:avLst/>
            </a:prstGeom>
            <a:solidFill>
              <a:srgbClr val="7C1A4F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6877694"/>
              <a:ext cx="1300907" cy="212379"/>
            </a:xfrm>
            <a:prstGeom prst="rect">
              <a:avLst/>
            </a:prstGeom>
            <a:solidFill>
              <a:srgbClr val="F7982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9" name="Rectangle"/>
            <p:cNvSpPr/>
            <p:nvPr userDrawn="1"/>
          </p:nvSpPr>
          <p:spPr>
            <a:xfrm>
              <a:off x="160238" y="5875535"/>
              <a:ext cx="1300907" cy="1002160"/>
            </a:xfrm>
            <a:prstGeom prst="rect">
              <a:avLst/>
            </a:prstGeom>
            <a:solidFill>
              <a:srgbClr val="EE432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0" name="Rectangle"/>
            <p:cNvSpPr/>
            <p:nvPr userDrawn="1"/>
          </p:nvSpPr>
          <p:spPr>
            <a:xfrm>
              <a:off x="160238" y="3874095"/>
              <a:ext cx="1300907" cy="2001441"/>
            </a:xfrm>
            <a:prstGeom prst="rect">
              <a:avLst/>
            </a:prstGeom>
            <a:solidFill>
              <a:srgbClr val="F36F26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1" name="Rectangle"/>
            <p:cNvSpPr/>
            <p:nvPr userDrawn="1"/>
          </p:nvSpPr>
          <p:spPr>
            <a:xfrm>
              <a:off x="160238" y="3154213"/>
              <a:ext cx="1300907" cy="721867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22" name="Rectangle"/>
            <p:cNvSpPr/>
            <p:nvPr userDrawn="1"/>
          </p:nvSpPr>
          <p:spPr>
            <a:xfrm>
              <a:off x="160238" y="148877"/>
              <a:ext cx="1300907" cy="3005337"/>
            </a:xfrm>
            <a:prstGeom prst="rect">
              <a:avLst/>
            </a:prstGeom>
            <a:solidFill>
              <a:srgbClr val="86CBD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335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661" y="-37908"/>
            <a:ext cx="12304487" cy="69243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167" y="1308577"/>
            <a:ext cx="9203871" cy="446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430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6611" y="6608"/>
            <a:ext cx="11950357" cy="6219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2" rIns="91426" bIns="45712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26614" y="98854"/>
            <a:ext cx="1204588" cy="6096000"/>
            <a:chOff x="160238" y="154880"/>
            <a:chExt cx="1300907" cy="8777933"/>
          </a:xfrm>
        </p:grpSpPr>
        <p:sp>
          <p:nvSpPr>
            <p:cNvPr id="12" name="Rectangle"/>
            <p:cNvSpPr/>
            <p:nvPr userDrawn="1"/>
          </p:nvSpPr>
          <p:spPr>
            <a:xfrm>
              <a:off x="160238" y="8398371"/>
              <a:ext cx="1300907" cy="534442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3" name="Rectangle"/>
            <p:cNvSpPr/>
            <p:nvPr userDrawn="1"/>
          </p:nvSpPr>
          <p:spPr>
            <a:xfrm>
              <a:off x="160238" y="8183364"/>
              <a:ext cx="1300907" cy="215008"/>
            </a:xfrm>
            <a:prstGeom prst="rect">
              <a:avLst/>
            </a:prstGeom>
            <a:solidFill>
              <a:srgbClr val="4D89AD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4" name="Rectangle"/>
            <p:cNvSpPr/>
            <p:nvPr userDrawn="1"/>
          </p:nvSpPr>
          <p:spPr>
            <a:xfrm>
              <a:off x="160238" y="6195863"/>
              <a:ext cx="1300907" cy="1987502"/>
            </a:xfrm>
            <a:prstGeom prst="rect">
              <a:avLst/>
            </a:prstGeom>
            <a:solidFill>
              <a:srgbClr val="2591C0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5" name="Rectangle"/>
            <p:cNvSpPr/>
            <p:nvPr userDrawn="1"/>
          </p:nvSpPr>
          <p:spPr>
            <a:xfrm>
              <a:off x="160238" y="5724425"/>
              <a:ext cx="1300907" cy="471439"/>
            </a:xfrm>
            <a:prstGeom prst="rect">
              <a:avLst/>
            </a:prstGeom>
            <a:solidFill>
              <a:srgbClr val="104D6A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6" name="Rectangle"/>
            <p:cNvSpPr/>
            <p:nvPr userDrawn="1"/>
          </p:nvSpPr>
          <p:spPr>
            <a:xfrm>
              <a:off x="160238" y="371177"/>
              <a:ext cx="1300907" cy="813396"/>
            </a:xfrm>
            <a:prstGeom prst="rect">
              <a:avLst/>
            </a:prstGeom>
            <a:solidFill>
              <a:srgbClr val="095B88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7" name="Rectangle"/>
            <p:cNvSpPr/>
            <p:nvPr userDrawn="1"/>
          </p:nvSpPr>
          <p:spPr>
            <a:xfrm>
              <a:off x="160238" y="1184572"/>
              <a:ext cx="1300907" cy="4539854"/>
            </a:xfrm>
            <a:prstGeom prst="rect">
              <a:avLst/>
            </a:prstGeom>
            <a:solidFill>
              <a:srgbClr val="016AA1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  <p:sp>
          <p:nvSpPr>
            <p:cNvPr id="18" name="Rectangle"/>
            <p:cNvSpPr/>
            <p:nvPr userDrawn="1"/>
          </p:nvSpPr>
          <p:spPr>
            <a:xfrm>
              <a:off x="160238" y="154880"/>
              <a:ext cx="1300907" cy="216298"/>
            </a:xfrm>
            <a:prstGeom prst="rect">
              <a:avLst/>
            </a:prstGeom>
            <a:solidFill>
              <a:srgbClr val="85CDD9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61543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Picture 3" descr="Picture 3"/>
          <p:cNvPicPr>
            <a:picLocks noChangeAspect="1"/>
          </p:cNvPicPr>
          <p:nvPr userDrawn="1"/>
        </p:nvPicPr>
        <p:blipFill>
          <a:blip r:embed="rId6" cstate="print"/>
          <a:srcRect r="91525"/>
          <a:stretch>
            <a:fillRect/>
          </a:stretch>
        </p:blipFill>
        <p:spPr>
          <a:xfrm>
            <a:off x="0" y="0"/>
            <a:ext cx="1118499" cy="68580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" name="Group 2"/>
          <p:cNvGrpSpPr/>
          <p:nvPr userDrawn="1"/>
        </p:nvGrpSpPr>
        <p:grpSpPr>
          <a:xfrm>
            <a:off x="2" y="6221395"/>
            <a:ext cx="12191999" cy="574391"/>
            <a:chOff x="0" y="6221393"/>
            <a:chExt cx="12191999" cy="574391"/>
          </a:xfrm>
        </p:grpSpPr>
        <p:pic>
          <p:nvPicPr>
            <p:cNvPr id="71" name="footer-13.jpg" descr="footer-13.jpg"/>
            <p:cNvPicPr>
              <a:picLocks noChangeAspect="1"/>
            </p:cNvPicPr>
            <p:nvPr userDrawn="1"/>
          </p:nvPicPr>
          <p:blipFill>
            <a:blip r:embed="rId7" cstate="print"/>
            <a:stretch>
              <a:fillRect/>
            </a:stretch>
          </p:blipFill>
          <p:spPr>
            <a:xfrm>
              <a:off x="0" y="6221393"/>
              <a:ext cx="9906000" cy="574391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2" name="footer-13.jpg" descr="footer-13.jpg"/>
            <p:cNvPicPr>
              <a:picLocks noChangeAspect="1"/>
            </p:cNvPicPr>
            <p:nvPr userDrawn="1"/>
          </p:nvPicPr>
          <p:blipFill rotWithShape="1">
            <a:blip r:embed="rId7" cstate="print"/>
            <a:srcRect l="26342"/>
            <a:stretch/>
          </p:blipFill>
          <p:spPr>
            <a:xfrm>
              <a:off x="4895384" y="6221393"/>
              <a:ext cx="7296615" cy="5743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453896" y="722376"/>
            <a:ext cx="7251192" cy="649224"/>
          </a:xfrm>
          <a:prstGeom prst="rect">
            <a:avLst/>
          </a:prstGeom>
        </p:spPr>
        <p:txBody>
          <a:bodyPr lIns="36000" tIns="46800" rIns="36000" bIns="46800" anchor="ctr" anchorCtr="0">
            <a:normAutofit/>
          </a:bodyPr>
          <a:lstStyle>
            <a:lvl1pPr algn="l">
              <a:lnSpc>
                <a:spcPct val="93000"/>
              </a:lnSpc>
              <a:defRPr sz="3000" baseline="0">
                <a:solidFill>
                  <a:srgbClr val="86CBD8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Presentación</a:t>
            </a:r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453896" y="2221992"/>
            <a:ext cx="8138160" cy="365760"/>
          </a:xfrm>
          <a:prstGeom prst="rect">
            <a:avLst/>
          </a:prstGeom>
        </p:spPr>
        <p:txBody>
          <a:bodyPr lIns="36000" tIns="46800" rIns="36000" bIns="46800" anchor="ctr"/>
          <a:lstStyle>
            <a:lvl1pPr marL="0" indent="0" algn="l">
              <a:lnSpc>
                <a:spcPct val="110000"/>
              </a:lnSpc>
              <a:buNone/>
              <a:defRPr sz="1350" b="1" baseline="0">
                <a:solidFill>
                  <a:srgbClr val="016AA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titulo</a:t>
            </a:r>
            <a:endParaRPr lang="en-US" dirty="0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453896" y="4983480"/>
            <a:ext cx="7589520" cy="365760"/>
          </a:xfrm>
          <a:prstGeom prst="rect">
            <a:avLst/>
          </a:prstGeom>
          <a:noFill/>
        </p:spPr>
        <p:txBody>
          <a:bodyPr lIns="36000" tIns="46800" rIns="36000" bIns="46800" anchor="ctr"/>
          <a:lstStyle>
            <a:lvl1pPr algn="l">
              <a:lnSpc>
                <a:spcPct val="110000"/>
              </a:lnSpc>
              <a:buNone/>
              <a:defRPr sz="1350" b="0" cap="none" baseline="0">
                <a:solidFill>
                  <a:srgbClr val="7C1A4F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0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0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845" y="6661003"/>
            <a:ext cx="874355" cy="141242"/>
          </a:xfrm>
          <a:prstGeom prst="rect">
            <a:avLst/>
          </a:prstGeom>
        </p:spPr>
      </p:pic>
      <p:pic>
        <p:nvPicPr>
          <p:cNvPr id="101" name="pasted-image.pdf" descr="pasted-image.pdf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29456" y="6545571"/>
            <a:ext cx="420925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1681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76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0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44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58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61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14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65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54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557948" y="679218"/>
            <a:ext cx="1113960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82" tIns="45690" rIns="91382" bIns="4569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MX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482" y="350114"/>
            <a:ext cx="11230029" cy="32910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819D7-74CB-4B65-9AC3-D4A2007CCA09}" type="slidenum">
              <a:rPr lang="en-US" altLang="es-MX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altLang="es-MX">
              <a:solidFill>
                <a:srgbClr val="002776"/>
              </a:solidFill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2930518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2941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6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2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10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82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2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38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7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63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9606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28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4673647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5"/>
            <a:ext cx="2694667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4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4472C4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70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4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5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766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4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2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it-IT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MX2020 - SteerCo data deep dive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299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30.xml"/><Relationship Id="rId55" Type="http://schemas.openxmlformats.org/officeDocument/2006/relationships/theme" Target="../theme/theme10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3" Type="http://schemas.openxmlformats.org/officeDocument/2006/relationships/slideLayout" Target="../slideLayouts/slideLayout133.xml"/><Relationship Id="rId58" Type="http://schemas.openxmlformats.org/officeDocument/2006/relationships/oleObject" Target="../embeddings/oleObject13.bin"/><Relationship Id="rId5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slideLayout" Target="../slideLayouts/slideLayout128.xml"/><Relationship Id="rId56" Type="http://schemas.openxmlformats.org/officeDocument/2006/relationships/vmlDrawing" Target="../drawings/vmlDrawing13.vml"/><Relationship Id="rId8" Type="http://schemas.openxmlformats.org/officeDocument/2006/relationships/slideLayout" Target="../slideLayouts/slideLayout88.xml"/><Relationship Id="rId51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59" Type="http://schemas.openxmlformats.org/officeDocument/2006/relationships/image" Target="../media/image5.emf"/><Relationship Id="rId20" Type="http://schemas.openxmlformats.org/officeDocument/2006/relationships/slideLayout" Target="../slideLayouts/slideLayout100.xml"/><Relationship Id="rId41" Type="http://schemas.openxmlformats.org/officeDocument/2006/relationships/slideLayout" Target="../slideLayouts/slideLayout121.xml"/><Relationship Id="rId54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slideLayout" Target="../slideLayouts/slideLayout129.xml"/><Relationship Id="rId57" Type="http://schemas.openxmlformats.org/officeDocument/2006/relationships/tags" Target="../tags/tag14.xml"/><Relationship Id="rId10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52" Type="http://schemas.openxmlformats.org/officeDocument/2006/relationships/slideLayout" Target="../slideLayouts/slideLayout13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theme" Target="../theme/theme11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136.xml"/><Relationship Id="rId16" Type="http://schemas.openxmlformats.org/officeDocument/2006/relationships/oleObject" Target="../embeddings/oleObject65.bin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ags" Target="../tags/tag112.xml"/><Relationship Id="rId10" Type="http://schemas.openxmlformats.org/officeDocument/2006/relationships/slideLayout" Target="../slideLayouts/slideLayout14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vmlDrawing" Target="../drawings/vmlDrawing65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ags" Target="../tags/tag125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tags" Target="../tags/tag124.xml"/><Relationship Id="rId2" Type="http://schemas.openxmlformats.org/officeDocument/2006/relationships/slideLayout" Target="../slideLayouts/slideLayout148.xml"/><Relationship Id="rId16" Type="http://schemas.openxmlformats.org/officeDocument/2006/relationships/vmlDrawing" Target="../drawings/vmlDrawing77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56.xml"/><Relationship Id="rId19" Type="http://schemas.openxmlformats.org/officeDocument/2006/relationships/oleObject" Target="../embeddings/oleObject77.bin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theme" Target="../theme/theme15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8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198.xml"/><Relationship Id="rId21" Type="http://schemas.openxmlformats.org/officeDocument/2006/relationships/tags" Target="../tags/tag140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image" Target="../media/image6.jpeg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vmlDrawing" Target="../drawings/vmlDrawing92.v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oleObject" Target="../embeddings/oleObject92.bin"/><Relationship Id="rId10" Type="http://schemas.openxmlformats.org/officeDocument/2006/relationships/slideLayout" Target="../slideLayouts/slideLayout205.xml"/><Relationship Id="rId19" Type="http://schemas.openxmlformats.org/officeDocument/2006/relationships/theme" Target="../theme/theme16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tags" Target="../tags/tag14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tags" Target="../tags/tag156.xml"/><Relationship Id="rId3" Type="http://schemas.openxmlformats.org/officeDocument/2006/relationships/slideLayout" Target="../slideLayouts/slideLayout216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tags" Target="../tags/tag155.xml"/><Relationship Id="rId2" Type="http://schemas.openxmlformats.org/officeDocument/2006/relationships/slideLayout" Target="../slideLayouts/slideLayout215.xml"/><Relationship Id="rId16" Type="http://schemas.openxmlformats.org/officeDocument/2006/relationships/vmlDrawing" Target="../drawings/vmlDrawing105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23.xml"/><Relationship Id="rId19" Type="http://schemas.openxmlformats.org/officeDocument/2006/relationships/oleObject" Target="../embeddings/oleObject105.bin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image" Target="../media/image7.png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5.xml"/><Relationship Id="rId26" Type="http://schemas.openxmlformats.org/officeDocument/2006/relationships/slideLayout" Target="../slideLayouts/slideLayout253.xml"/><Relationship Id="rId39" Type="http://schemas.openxmlformats.org/officeDocument/2006/relationships/slideLayout" Target="../slideLayouts/slideLayout266.xml"/><Relationship Id="rId21" Type="http://schemas.openxmlformats.org/officeDocument/2006/relationships/slideLayout" Target="../slideLayouts/slideLayout248.xml"/><Relationship Id="rId34" Type="http://schemas.openxmlformats.org/officeDocument/2006/relationships/slideLayout" Target="../slideLayouts/slideLayout261.xml"/><Relationship Id="rId42" Type="http://schemas.openxmlformats.org/officeDocument/2006/relationships/slideLayout" Target="../slideLayouts/slideLayout269.xml"/><Relationship Id="rId47" Type="http://schemas.openxmlformats.org/officeDocument/2006/relationships/slideLayout" Target="../slideLayouts/slideLayout274.xml"/><Relationship Id="rId50" Type="http://schemas.openxmlformats.org/officeDocument/2006/relationships/slideLayout" Target="../slideLayouts/slideLayout277.xml"/><Relationship Id="rId55" Type="http://schemas.openxmlformats.org/officeDocument/2006/relationships/tags" Target="../tags/tag170.xml"/><Relationship Id="rId7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243.xml"/><Relationship Id="rId29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38.xml"/><Relationship Id="rId24" Type="http://schemas.openxmlformats.org/officeDocument/2006/relationships/slideLayout" Target="../slideLayouts/slideLayout251.xml"/><Relationship Id="rId32" Type="http://schemas.openxmlformats.org/officeDocument/2006/relationships/slideLayout" Target="../slideLayouts/slideLayout259.xml"/><Relationship Id="rId37" Type="http://schemas.openxmlformats.org/officeDocument/2006/relationships/slideLayout" Target="../slideLayouts/slideLayout264.xml"/><Relationship Id="rId40" Type="http://schemas.openxmlformats.org/officeDocument/2006/relationships/slideLayout" Target="../slideLayouts/slideLayout267.xml"/><Relationship Id="rId45" Type="http://schemas.openxmlformats.org/officeDocument/2006/relationships/slideLayout" Target="../slideLayouts/slideLayout272.xml"/><Relationship Id="rId53" Type="http://schemas.openxmlformats.org/officeDocument/2006/relationships/theme" Target="../theme/theme18.xml"/><Relationship Id="rId5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41.xml"/><Relationship Id="rId22" Type="http://schemas.openxmlformats.org/officeDocument/2006/relationships/slideLayout" Target="../slideLayouts/slideLayout249.xml"/><Relationship Id="rId27" Type="http://schemas.openxmlformats.org/officeDocument/2006/relationships/slideLayout" Target="../slideLayouts/slideLayout254.xml"/><Relationship Id="rId30" Type="http://schemas.openxmlformats.org/officeDocument/2006/relationships/slideLayout" Target="../slideLayouts/slideLayout257.xml"/><Relationship Id="rId35" Type="http://schemas.openxmlformats.org/officeDocument/2006/relationships/slideLayout" Target="../slideLayouts/slideLayout262.xml"/><Relationship Id="rId43" Type="http://schemas.openxmlformats.org/officeDocument/2006/relationships/slideLayout" Target="../slideLayouts/slideLayout270.xml"/><Relationship Id="rId48" Type="http://schemas.openxmlformats.org/officeDocument/2006/relationships/slideLayout" Target="../slideLayouts/slideLayout275.xml"/><Relationship Id="rId56" Type="http://schemas.openxmlformats.org/officeDocument/2006/relationships/oleObject" Target="../embeddings/oleObject119.bin"/><Relationship Id="rId8" Type="http://schemas.openxmlformats.org/officeDocument/2006/relationships/slideLayout" Target="../slideLayouts/slideLayout235.xml"/><Relationship Id="rId51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4.xml"/><Relationship Id="rId25" Type="http://schemas.openxmlformats.org/officeDocument/2006/relationships/slideLayout" Target="../slideLayouts/slideLayout252.xml"/><Relationship Id="rId33" Type="http://schemas.openxmlformats.org/officeDocument/2006/relationships/slideLayout" Target="../slideLayouts/slideLayout260.xml"/><Relationship Id="rId38" Type="http://schemas.openxmlformats.org/officeDocument/2006/relationships/slideLayout" Target="../slideLayouts/slideLayout265.xml"/><Relationship Id="rId46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47.xml"/><Relationship Id="rId41" Type="http://schemas.openxmlformats.org/officeDocument/2006/relationships/slideLayout" Target="../slideLayouts/slideLayout268.xml"/><Relationship Id="rId54" Type="http://schemas.openxmlformats.org/officeDocument/2006/relationships/vmlDrawing" Target="../drawings/vmlDrawing119.v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2.xml"/><Relationship Id="rId23" Type="http://schemas.openxmlformats.org/officeDocument/2006/relationships/slideLayout" Target="../slideLayouts/slideLayout250.xml"/><Relationship Id="rId28" Type="http://schemas.openxmlformats.org/officeDocument/2006/relationships/slideLayout" Target="../slideLayouts/slideLayout255.xml"/><Relationship Id="rId36" Type="http://schemas.openxmlformats.org/officeDocument/2006/relationships/slideLayout" Target="../slideLayouts/slideLayout263.xml"/><Relationship Id="rId49" Type="http://schemas.openxmlformats.org/officeDocument/2006/relationships/slideLayout" Target="../slideLayouts/slideLayout276.xml"/><Relationship Id="rId57" Type="http://schemas.openxmlformats.org/officeDocument/2006/relationships/image" Target="../media/image5.emf"/><Relationship Id="rId10" Type="http://schemas.openxmlformats.org/officeDocument/2006/relationships/slideLayout" Target="../slideLayouts/slideLayout237.xml"/><Relationship Id="rId31" Type="http://schemas.openxmlformats.org/officeDocument/2006/relationships/slideLayout" Target="../slideLayouts/slideLayout258.xml"/><Relationship Id="rId44" Type="http://schemas.openxmlformats.org/officeDocument/2006/relationships/slideLayout" Target="../slideLayouts/slideLayout271.xml"/><Relationship Id="rId52" Type="http://schemas.openxmlformats.org/officeDocument/2006/relationships/slideLayout" Target="../slideLayouts/slideLayout27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13" Type="http://schemas.openxmlformats.org/officeDocument/2006/relationships/slideLayout" Target="../slideLayouts/slideLayout292.xml"/><Relationship Id="rId18" Type="http://schemas.openxmlformats.org/officeDocument/2006/relationships/oleObject" Target="../embeddings/oleObject171.bin"/><Relationship Id="rId3" Type="http://schemas.openxmlformats.org/officeDocument/2006/relationships/slideLayout" Target="../slideLayouts/slideLayout282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1.xml"/><Relationship Id="rId17" Type="http://schemas.openxmlformats.org/officeDocument/2006/relationships/tags" Target="../tags/tag268.xml"/><Relationship Id="rId2" Type="http://schemas.openxmlformats.org/officeDocument/2006/relationships/slideLayout" Target="../slideLayouts/slideLayout281.xml"/><Relationship Id="rId16" Type="http://schemas.openxmlformats.org/officeDocument/2006/relationships/vmlDrawing" Target="../drawings/vmlDrawing171.v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4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89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slideLayout" Target="../slideLayouts/slideLayout29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slideLayout" Target="../slideLayouts/slideLayout306.xml"/><Relationship Id="rId18" Type="http://schemas.openxmlformats.org/officeDocument/2006/relationships/tags" Target="../tags/tag280.xml"/><Relationship Id="rId3" Type="http://schemas.openxmlformats.org/officeDocument/2006/relationships/slideLayout" Target="../slideLayouts/slideLayout296.xml"/><Relationship Id="rId21" Type="http://schemas.openxmlformats.org/officeDocument/2006/relationships/image" Target="../media/image12.jpg"/><Relationship Id="rId7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5.xml"/><Relationship Id="rId17" Type="http://schemas.openxmlformats.org/officeDocument/2006/relationships/vmlDrawing" Target="../drawings/vmlDrawing183.vml"/><Relationship Id="rId2" Type="http://schemas.openxmlformats.org/officeDocument/2006/relationships/slideLayout" Target="../slideLayouts/slideLayout295.xml"/><Relationship Id="rId16" Type="http://schemas.openxmlformats.org/officeDocument/2006/relationships/theme" Target="../theme/theme20.x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304.xml"/><Relationship Id="rId5" Type="http://schemas.openxmlformats.org/officeDocument/2006/relationships/slideLayout" Target="../slideLayouts/slideLayout298.xml"/><Relationship Id="rId15" Type="http://schemas.openxmlformats.org/officeDocument/2006/relationships/slideLayout" Target="../slideLayouts/slideLayout308.xml"/><Relationship Id="rId10" Type="http://schemas.openxmlformats.org/officeDocument/2006/relationships/slideLayout" Target="../slideLayouts/slideLayout303.xml"/><Relationship Id="rId19" Type="http://schemas.openxmlformats.org/officeDocument/2006/relationships/oleObject" Target="../embeddings/oleObject183.bin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image" Target="../media/image7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theme" Target="../theme/theme21.xml"/><Relationship Id="rId18" Type="http://schemas.openxmlformats.org/officeDocument/2006/relationships/image" Target="../media/image12.jpg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10.xml"/><Relationship Id="rId16" Type="http://schemas.openxmlformats.org/officeDocument/2006/relationships/oleObject" Target="../embeddings/oleObject195.bin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5" Type="http://schemas.openxmlformats.org/officeDocument/2006/relationships/tags" Target="../tags/tag292.xml"/><Relationship Id="rId10" Type="http://schemas.openxmlformats.org/officeDocument/2006/relationships/slideLayout" Target="../slideLayouts/slideLayout31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vmlDrawing" Target="../drawings/vmlDrawing195.v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3.xml"/><Relationship Id="rId18" Type="http://schemas.openxmlformats.org/officeDocument/2006/relationships/oleObject" Target="../embeddings/oleObject207.bin"/><Relationship Id="rId3" Type="http://schemas.openxmlformats.org/officeDocument/2006/relationships/slideLayout" Target="../slideLayouts/slideLayout323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17" Type="http://schemas.openxmlformats.org/officeDocument/2006/relationships/tags" Target="../tags/tag304.xml"/><Relationship Id="rId2" Type="http://schemas.openxmlformats.org/officeDocument/2006/relationships/slideLayout" Target="../slideLayouts/slideLayout322.xml"/><Relationship Id="rId16" Type="http://schemas.openxmlformats.org/officeDocument/2006/relationships/vmlDrawing" Target="../drawings/vmlDrawing207.vml"/><Relationship Id="rId20" Type="http://schemas.openxmlformats.org/officeDocument/2006/relationships/image" Target="../media/image12.jpg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5" Type="http://schemas.openxmlformats.org/officeDocument/2006/relationships/theme" Target="../theme/theme22.xml"/><Relationship Id="rId10" Type="http://schemas.openxmlformats.org/officeDocument/2006/relationships/slideLayout" Target="../slideLayouts/slideLayout330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slideLayout" Target="../slideLayouts/slideLayout33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2.xml"/><Relationship Id="rId13" Type="http://schemas.openxmlformats.org/officeDocument/2006/relationships/slideLayout" Target="../slideLayouts/slideLayout347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46.xml"/><Relationship Id="rId17" Type="http://schemas.openxmlformats.org/officeDocument/2006/relationships/oleObject" Target="../embeddings/oleObject219.bin"/><Relationship Id="rId2" Type="http://schemas.openxmlformats.org/officeDocument/2006/relationships/slideLayout" Target="../slideLayouts/slideLayout336.xml"/><Relationship Id="rId16" Type="http://schemas.openxmlformats.org/officeDocument/2006/relationships/tags" Target="../tags/tag316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1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39.xml"/><Relationship Id="rId15" Type="http://schemas.openxmlformats.org/officeDocument/2006/relationships/vmlDrawing" Target="../drawings/vmlDrawing219.vml"/><Relationship Id="rId10" Type="http://schemas.openxmlformats.org/officeDocument/2006/relationships/slideLayout" Target="../slideLayouts/slideLayout344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338.xml"/><Relationship Id="rId9" Type="http://schemas.openxmlformats.org/officeDocument/2006/relationships/slideLayout" Target="../slideLayouts/slideLayout343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5.xml"/><Relationship Id="rId13" Type="http://schemas.openxmlformats.org/officeDocument/2006/relationships/slideLayout" Target="../slideLayouts/slideLayout360.xml"/><Relationship Id="rId18" Type="http://schemas.openxmlformats.org/officeDocument/2006/relationships/oleObject" Target="../embeddings/oleObject231.bin"/><Relationship Id="rId3" Type="http://schemas.openxmlformats.org/officeDocument/2006/relationships/slideLayout" Target="../slideLayouts/slideLayout350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54.xml"/><Relationship Id="rId12" Type="http://schemas.openxmlformats.org/officeDocument/2006/relationships/slideLayout" Target="../slideLayouts/slideLayout359.xml"/><Relationship Id="rId17" Type="http://schemas.openxmlformats.org/officeDocument/2006/relationships/tags" Target="../tags/tag328.xml"/><Relationship Id="rId2" Type="http://schemas.openxmlformats.org/officeDocument/2006/relationships/slideLayout" Target="../slideLayouts/slideLayout349.xml"/><Relationship Id="rId16" Type="http://schemas.openxmlformats.org/officeDocument/2006/relationships/vmlDrawing" Target="../drawings/vmlDrawing231.v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58.xml"/><Relationship Id="rId5" Type="http://schemas.openxmlformats.org/officeDocument/2006/relationships/slideLayout" Target="../slideLayouts/slideLayout352.xml"/><Relationship Id="rId15" Type="http://schemas.openxmlformats.org/officeDocument/2006/relationships/theme" Target="../theme/theme24.xml"/><Relationship Id="rId10" Type="http://schemas.openxmlformats.org/officeDocument/2006/relationships/slideLayout" Target="../slideLayouts/slideLayout35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Relationship Id="rId14" Type="http://schemas.openxmlformats.org/officeDocument/2006/relationships/slideLayout" Target="../slideLayouts/slideLayout36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5" y="314326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7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2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5" y="6440492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2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422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12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253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38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50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879" indent="-288879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311" indent="-23015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569" indent="-226976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653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073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786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4989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11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24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7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97" name="think-cell Slide" r:id="rId58" imgW="270" imgH="270" progId="TCLayout.ActiveDocument.1">
                  <p:embed/>
                </p:oleObj>
              </mc:Choice>
              <mc:Fallback>
                <p:oleObj name="think-cell Slide" r:id="rId5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508"/>
            <a:ext cx="38100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3174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  <p:sldLayoutId id="2147484015" r:id="rId33"/>
    <p:sldLayoutId id="2147484016" r:id="rId34"/>
    <p:sldLayoutId id="2147484017" r:id="rId35"/>
    <p:sldLayoutId id="2147484018" r:id="rId36"/>
    <p:sldLayoutId id="2147484019" r:id="rId37"/>
    <p:sldLayoutId id="2147484020" r:id="rId38"/>
    <p:sldLayoutId id="2147484021" r:id="rId39"/>
    <p:sldLayoutId id="2147484022" r:id="rId40"/>
    <p:sldLayoutId id="2147484023" r:id="rId41"/>
    <p:sldLayoutId id="2147484024" r:id="rId42"/>
    <p:sldLayoutId id="2147484025" r:id="rId43"/>
    <p:sldLayoutId id="2147484026" r:id="rId44"/>
    <p:sldLayoutId id="2147484027" r:id="rId45"/>
    <p:sldLayoutId id="2147484028" r:id="rId46"/>
    <p:sldLayoutId id="2147484029" r:id="rId47"/>
    <p:sldLayoutId id="2147484030" r:id="rId48"/>
    <p:sldLayoutId id="2147484031" r:id="rId49"/>
    <p:sldLayoutId id="2147484032" r:id="rId50"/>
    <p:sldLayoutId id="2147484033" r:id="rId51"/>
    <p:sldLayoutId id="2147484034" r:id="rId52"/>
    <p:sldLayoutId id="2147484201" r:id="rId53"/>
    <p:sldLayoutId id="2147484202" r:id="rId5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rgbClr val="4472C4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528" userDrawn="1">
          <p15:clr>
            <a:srgbClr val="F26B43"/>
          </p15:clr>
        </p15:guide>
        <p15:guide id="3" pos="971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36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00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5325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203" r:id="rId12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61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5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62045" rIns="0" bIns="62045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 userDrawn="1">
            <p:custDataLst>
              <p:tags r:id="rId18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872470"/>
            <a:r>
              <a:rPr lang="en-US" sz="703">
                <a:solidFill>
                  <a:srgbClr val="808080"/>
                </a:solidFill>
                <a:cs typeface="Arial"/>
                <a:sym typeface="Arial"/>
              </a:rPr>
              <a:t>196301-97-20Dec17-CB-int-MEX.pptx</a:t>
            </a:r>
            <a:endParaRPr lang="en-US" sz="703" dirty="0">
              <a:solidFill>
                <a:srgbClr val="808080"/>
              </a:solidFill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7" y="1508761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7250" tIns="52350" rIns="87250" bIns="43625" rtlCol="0" anchor="t" anchorCtr="0">
            <a:noAutofit/>
          </a:bodyPr>
          <a:lstStyle/>
          <a:p>
            <a:pPr algn="r" defTabSz="872470">
              <a:defRPr/>
            </a:pPr>
            <a:fld id="{8FDC6993-5875-43F1-AB5B-56FAFD3221C9}" type="slidenum">
              <a:rPr lang="en-US" sz="984" smtClean="0">
                <a:solidFill>
                  <a:srgbClr val="FFFFFF"/>
                </a:solidFill>
              </a:rPr>
              <a:pPr algn="r" defTabSz="872470">
                <a:defRPr/>
              </a:pPr>
              <a:t>‹#›</a:t>
            </a:fld>
            <a:endParaRPr lang="en-US" sz="984" dirty="0">
              <a:solidFill>
                <a:srgbClr val="FFFFFF"/>
              </a:solidFill>
            </a:endParaRPr>
          </a:p>
          <a:p>
            <a:pPr defTabSz="872470"/>
            <a:endParaRPr lang="en-US" sz="844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7"/>
            <a:ext cx="793995" cy="365125"/>
          </a:xfrm>
          <a:prstGeom prst="rect">
            <a:avLst/>
          </a:prstGeom>
        </p:spPr>
        <p:txBody>
          <a:bodyPr vert="horz" lIns="87250" tIns="43625" rIns="87250" bIns="43625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84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984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36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800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34117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8" r:id="rId13"/>
    <p:sldLayoutId id="2147484079" r:id="rId14"/>
  </p:sldLayoutIdLst>
  <p:hf hdr="0" ftr="0" dt="0"/>
  <p:txStyles>
    <p:titleStyle>
      <a:lvl1pPr algn="l" defTabSz="872470" rtl="0" eaLnBrk="1" latinLnBrk="0" hangingPunct="1">
        <a:spcBef>
          <a:spcPct val="0"/>
        </a:spcBef>
        <a:buNone/>
        <a:defRPr sz="1898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72470" rtl="0" eaLnBrk="1" latinLnBrk="0" hangingPunct="1">
        <a:spcBef>
          <a:spcPts val="366"/>
        </a:spcBef>
        <a:buFontTx/>
        <a:buNone/>
        <a:defRPr sz="154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36235" indent="-218118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•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72470" indent="-218118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13252" indent="-222662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64574" indent="-219633" algn="l" defTabSz="872470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99294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6pPr>
      <a:lvl7pPr marL="2835531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7pPr>
      <a:lvl8pPr marL="3271765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8pPr>
      <a:lvl9pPr marL="3708002" indent="-218118" algn="l" defTabSz="872470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3623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72470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30870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44941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81177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617415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53647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89882" algn="l" defTabSz="872470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37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84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95" r:id="rId9"/>
    <p:sldLayoutId id="214748419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316141" y="235947"/>
            <a:ext cx="1154354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15768" y="1320800"/>
            <a:ext cx="11552385" cy="494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85"/>
          <p:cNvSpPr txBox="1">
            <a:spLocks noChangeArrowheads="1"/>
          </p:cNvSpPr>
          <p:nvPr userDrawn="1"/>
        </p:nvSpPr>
        <p:spPr bwMode="black">
          <a:xfrm>
            <a:off x="316141" y="6492742"/>
            <a:ext cx="3460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smtClean="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Geneva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Geneva" pitchFamily="127" charset="-128"/>
                <a:cs typeface="+mn-cs"/>
              </a:defRPr>
            </a:lvl9pPr>
          </a:lstStyle>
          <a:p>
            <a:pPr>
              <a:defRPr/>
            </a:pPr>
            <a:fld id="{410BB04A-6CB2-A14D-B6AF-586C8C166ED7}" type="slidenum">
              <a:rPr lang="en-US" sz="675" smtClean="0"/>
              <a:pPr>
                <a:defRPr/>
              </a:pPr>
              <a:t>‹#›</a:t>
            </a:fld>
            <a:endParaRPr lang="en-US" sz="675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5248" y="6492242"/>
            <a:ext cx="170048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85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79" r:id="rId9"/>
    <p:sldLayoutId id="2147484180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4130" r:id="rId1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16694" indent="-216694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475060" indent="-172641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731044" indent="-170260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984647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2382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15811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19240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2669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609850" indent="-167879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73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3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>
            <p:custDataLst>
              <p:tags r:id="rId22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fr-FR" sz="525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20171204 - MX2020 KPI Structure v4.pptx</a:t>
            </a:r>
            <a:endParaRPr lang="en-US" sz="525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6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68580" tIns="41148" rIns="68580" bIns="34290" rtlCol="0" anchor="t" anchorCtr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750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675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2" y="6448893"/>
            <a:ext cx="793995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750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750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393793" y="6416675"/>
            <a:ext cx="518063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8648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  <p:sldLayoutId id="2147484129" r:id="rId12"/>
    <p:sldLayoutId id="2147483954" r:id="rId13"/>
    <p:sldLayoutId id="2147483956" r:id="rId14"/>
    <p:sldLayoutId id="2147483957" r:id="rId15"/>
    <p:sldLayoutId id="2147483958" r:id="rId16"/>
    <p:sldLayoutId id="2147483960" r:id="rId17"/>
    <p:sldLayoutId id="2147483961" r:id="rId18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•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2D72"/>
        </a:buClr>
        <a:buFont typeface="Arial" pitchFamily="34" charset="0"/>
        <a:buChar char="–"/>
        <a:defRPr sz="12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020" y="164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05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0" y="164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61853" rIns="0" bIns="61853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 userDrawn="1">
            <p:custDataLst>
              <p:tags r:id="rId18"/>
            </p:custDataLst>
          </p:nvPr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869793"/>
            <a:r>
              <a:rPr lang="en-US" sz="703">
                <a:solidFill>
                  <a:srgbClr val="808080"/>
                </a:solidFill>
                <a:cs typeface="Arial"/>
                <a:sym typeface="Arial"/>
              </a:rPr>
              <a:t>196301-97-20Dec17-CB-int-MEX.pptx</a:t>
            </a:r>
            <a:endParaRPr lang="en-US" sz="703" dirty="0">
              <a:solidFill>
                <a:srgbClr val="808080"/>
              </a:solidFill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7" y="1508761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4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6981" tIns="52192" rIns="86981" bIns="43490" rtlCol="0" anchor="t" anchorCtr="0">
            <a:noAutofit/>
          </a:bodyPr>
          <a:lstStyle/>
          <a:p>
            <a:pPr algn="r" defTabSz="869793">
              <a:defRPr/>
            </a:pPr>
            <a:fld id="{8FDC6993-5875-43F1-AB5B-56FAFD3221C9}" type="slidenum">
              <a:rPr lang="en-US" sz="984" smtClean="0">
                <a:solidFill>
                  <a:srgbClr val="FFFFFF"/>
                </a:solidFill>
              </a:rPr>
              <a:pPr algn="r" defTabSz="869793">
                <a:defRPr/>
              </a:pPr>
              <a:t>‹#›</a:t>
            </a:fld>
            <a:endParaRPr lang="en-US" sz="984" dirty="0">
              <a:solidFill>
                <a:srgbClr val="FFFFFF"/>
              </a:solidFill>
            </a:endParaRPr>
          </a:p>
          <a:p>
            <a:pPr defTabSz="869793"/>
            <a:endParaRPr lang="en-US" sz="844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944"/>
            <a:ext cx="793995" cy="365125"/>
          </a:xfrm>
          <a:prstGeom prst="rect">
            <a:avLst/>
          </a:prstGeom>
        </p:spPr>
        <p:txBody>
          <a:bodyPr vert="horz" lIns="86981" tIns="43490" rIns="86981" bIns="434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84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984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94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858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Rectangle 9"/>
          <p:cNvSpPr/>
          <p:nvPr userDrawn="1"/>
        </p:nvSpPr>
        <p:spPr>
          <a:xfrm>
            <a:off x="357863" y="6719991"/>
            <a:ext cx="2092500" cy="1265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3281" bIns="63281" rtlCol="0" anchor="ctr" anchorCtr="0"/>
          <a:lstStyle/>
          <a:p>
            <a:pPr algn="ctr"/>
            <a:endParaRPr lang="en-US" sz="984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066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  <p:sldLayoutId id="2147484143" r:id="rId12"/>
    <p:sldLayoutId id="2147484149" r:id="rId13"/>
    <p:sldLayoutId id="2147484150" r:id="rId14"/>
  </p:sldLayoutIdLst>
  <p:hf hdr="0" ftr="0" dt="0"/>
  <p:txStyles>
    <p:titleStyle>
      <a:lvl1pPr algn="l" defTabSz="869793" rtl="0" eaLnBrk="1" latinLnBrk="0" hangingPunct="1">
        <a:spcBef>
          <a:spcPct val="0"/>
        </a:spcBef>
        <a:buNone/>
        <a:defRPr sz="1898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69793" rtl="0" eaLnBrk="1" latinLnBrk="0" hangingPunct="1">
        <a:spcBef>
          <a:spcPts val="366"/>
        </a:spcBef>
        <a:buFontTx/>
        <a:buNone/>
        <a:defRPr sz="154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34889" indent="-217445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•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69793" indent="-217445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09214" indent="-221979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58543" indent="-218960" algn="l" defTabSz="869793" rtl="0" eaLnBrk="1" latinLnBrk="0" hangingPunct="1">
        <a:spcBef>
          <a:spcPts val="366"/>
        </a:spcBef>
        <a:buClr>
          <a:srgbClr val="002D72"/>
        </a:buClr>
        <a:buFont typeface="Arial" pitchFamily="34" charset="0"/>
        <a:buChar char="–"/>
        <a:defRPr sz="154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9189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6pPr>
      <a:lvl7pPr marL="2826814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7pPr>
      <a:lvl8pPr marL="326171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8pPr>
      <a:lvl9pPr marL="3696603" indent="-217445" algn="l" defTabSz="869793" rtl="0" eaLnBrk="1" latinLnBrk="0" hangingPunct="1">
        <a:spcBef>
          <a:spcPct val="20000"/>
        </a:spcBef>
        <a:buFont typeface="Arial" pitchFamily="34" charset="0"/>
        <a:buChar char="•"/>
        <a:defRPr sz="18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34889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69793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304690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39569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74474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609385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44256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79155" algn="l" defTabSz="869793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50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32497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1" r:id="rId26"/>
    <p:sldLayoutId id="2147484232" r:id="rId27"/>
    <p:sldLayoutId id="2147484233" r:id="rId28"/>
    <p:sldLayoutId id="2147484234" r:id="rId29"/>
    <p:sldLayoutId id="2147484235" r:id="rId30"/>
    <p:sldLayoutId id="2147484236" r:id="rId31"/>
    <p:sldLayoutId id="2147484237" r:id="rId32"/>
    <p:sldLayoutId id="2147484238" r:id="rId33"/>
    <p:sldLayoutId id="2147484239" r:id="rId34"/>
    <p:sldLayoutId id="2147484240" r:id="rId35"/>
    <p:sldLayoutId id="2147484241" r:id="rId36"/>
    <p:sldLayoutId id="2147484242" r:id="rId37"/>
    <p:sldLayoutId id="2147484243" r:id="rId38"/>
    <p:sldLayoutId id="2147484244" r:id="rId39"/>
    <p:sldLayoutId id="2147484245" r:id="rId40"/>
    <p:sldLayoutId id="2147484246" r:id="rId41"/>
    <p:sldLayoutId id="2147484247" r:id="rId42"/>
    <p:sldLayoutId id="2147484248" r:id="rId43"/>
    <p:sldLayoutId id="2147484249" r:id="rId44"/>
    <p:sldLayoutId id="2147484250" r:id="rId45"/>
    <p:sldLayoutId id="2147484251" r:id="rId46"/>
    <p:sldLayoutId id="2147484252" r:id="rId47"/>
    <p:sldLayoutId id="2147484253" r:id="rId48"/>
    <p:sldLayoutId id="2147484254" r:id="rId49"/>
    <p:sldLayoutId id="2147484255" r:id="rId50"/>
    <p:sldLayoutId id="2147484256" r:id="rId51"/>
    <p:sldLayoutId id="2147484257" r:id="rId5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4472C4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3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3636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  <p:sldLayoutId id="2147484285" r:id="rId12"/>
    <p:sldLayoutId id="2147484286" r:id="rId13"/>
    <p:sldLayoutId id="2147484287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4482" y="350115"/>
            <a:ext cx="11230029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628" y="1190382"/>
            <a:ext cx="11230029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ext styles</a:t>
            </a:r>
          </a:p>
          <a:p>
            <a:pPr lvl="1"/>
            <a:r>
              <a:rPr lang="en-US" altLang="es-MX"/>
              <a:t>Second level</a:t>
            </a:r>
          </a:p>
          <a:p>
            <a:pPr lvl="2"/>
            <a:r>
              <a:rPr lang="en-US" altLang="es-MX"/>
              <a:t>Third level</a:t>
            </a:r>
          </a:p>
          <a:p>
            <a:pPr lvl="3"/>
            <a:r>
              <a:rPr lang="en-US" altLang="es-MX"/>
              <a:t>Fourth level</a:t>
            </a:r>
          </a:p>
          <a:p>
            <a:pPr lvl="4"/>
            <a:r>
              <a:rPr lang="en-US" altLang="es-MX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54099" y="6554108"/>
            <a:ext cx="377092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 b="1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B70FD9-93A3-4F7E-AEAC-A89C9DCACB4E}" type="slidenum">
              <a:rPr lang="en-US" altLang="es-MX">
                <a:solidFill>
                  <a:srgbClr val="002776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s-MX" dirty="0">
              <a:solidFill>
                <a:srgbClr val="002776"/>
              </a:solidFill>
              <a:cs typeface="Arial" panose="020B0604020202020204" pitchFamily="34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9" y="6554108"/>
            <a:ext cx="5756424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2776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6449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</p:sldLayoutIdLst>
  <p:hf hdr="0" ftr="0" dt="0"/>
  <p:txStyles>
    <p:titleStyle>
      <a:lvl1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defTabSz="91396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10002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820007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230009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640010" algn="l" defTabSz="91396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307503" indent="-307503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82223" indent="-182223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•"/>
        <a:defRPr>
          <a:solidFill>
            <a:schemeClr val="tx2"/>
          </a:solidFill>
          <a:latin typeface="+mn-lt"/>
        </a:defRPr>
      </a:lvl2pPr>
      <a:lvl3pPr marL="357330" indent="-175106" algn="l" defTabSz="91396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‒"/>
        <a:defRPr>
          <a:solidFill>
            <a:schemeClr val="tx2"/>
          </a:solidFill>
          <a:latin typeface="+mn-lt"/>
        </a:defRPr>
      </a:lvl3pPr>
      <a:lvl4pPr marL="539553" indent="-182223" algn="l" defTabSz="91396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•"/>
        <a:defRPr sz="1400">
          <a:solidFill>
            <a:schemeClr val="tx2"/>
          </a:solidFill>
          <a:latin typeface="+mn-lt"/>
        </a:defRPr>
      </a:lvl4pPr>
      <a:lvl5pPr marL="711811" indent="-172260" algn="l" defTabSz="91396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‒"/>
        <a:defRPr sz="1400">
          <a:solidFill>
            <a:schemeClr val="tx2"/>
          </a:solidFill>
          <a:latin typeface="+mn-lt"/>
        </a:defRPr>
      </a:lvl5pPr>
      <a:lvl6pPr marL="1121812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6pPr>
      <a:lvl7pPr marL="1531816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7pPr>
      <a:lvl8pPr marL="1941818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8pPr>
      <a:lvl9pPr marL="2351820" indent="-172260" algn="l" defTabSz="91396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9pPr>
    </p:bodyStyle>
    <p:otherStyle>
      <a:defPPr>
        <a:defRPr lang="es-MX"/>
      </a:defPPr>
      <a:lvl1pPr marL="0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002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007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009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010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013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0016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0018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0021" algn="l" defTabSz="8200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3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2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0119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  <p:sldLayoutId id="2147484325" r:id="rId1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63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524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7" r:id="rId1"/>
    <p:sldLayoutId id="2147484378" r:id="rId2"/>
    <p:sldLayoutId id="2147484379" r:id="rId3"/>
    <p:sldLayoutId id="2147484380" r:id="rId4"/>
    <p:sldLayoutId id="2147484381" r:id="rId5"/>
    <p:sldLayoutId id="2147484382" r:id="rId6"/>
    <p:sldLayoutId id="2147484383" r:id="rId7"/>
    <p:sldLayoutId id="2147484384" r:id="rId8"/>
    <p:sldLayoutId id="2147484385" r:id="rId9"/>
    <p:sldLayoutId id="2147484386" r:id="rId10"/>
    <p:sldLayoutId id="2147484387" r:id="rId11"/>
    <p:sldLayoutId id="2147484388" r:id="rId12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90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65095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  <p:sldLayoutId id="2147484430" r:id="rId12"/>
    <p:sldLayoutId id="2147484431" r:id="rId13"/>
    <p:sldLayoutId id="2147484432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52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0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620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  <p:sldLayoutId id="2147484506" r:id="rId13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4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76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0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/>
        </p:nvSpPr>
        <p:spPr>
          <a:xfrm>
            <a:off x="393793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646" noProof="0">
                <a:solidFill>
                  <a:srgbClr val="808080"/>
                </a:solidFill>
                <a:latin typeface="Arial"/>
                <a:cs typeface="Arial"/>
                <a:sym typeface="Arial"/>
              </a:rPr>
              <a:t>Blank.potx</a:t>
            </a:r>
            <a:endParaRPr lang="en-US" sz="646" noProof="0" dirty="0">
              <a:solidFill>
                <a:srgbClr val="80808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5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84406" tIns="50644" rIns="84406" bIns="42203" rtlCol="0" anchor="t" anchorCtr="0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lang="en-US" sz="923" kern="1200" baseline="0" noProof="0" smtClean="0">
                <a:solidFill>
                  <a:schemeClr val="bg1"/>
                </a:solidFill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baseline="0" noProof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  <a:p>
            <a:endParaRPr lang="en-US" sz="83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2"/>
            <a:ext cx="79399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923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23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29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5568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  <p:sldLayoutId id="2147484540" r:id="rId2"/>
    <p:sldLayoutId id="2147484541" r:id="rId3"/>
    <p:sldLayoutId id="2147484542" r:id="rId4"/>
    <p:sldLayoutId id="2147484543" r:id="rId5"/>
    <p:sldLayoutId id="2147484544" r:id="rId6"/>
    <p:sldLayoutId id="2147484545" r:id="rId7"/>
    <p:sldLayoutId id="2147484546" r:id="rId8"/>
    <p:sldLayoutId id="2147484547" r:id="rId9"/>
    <p:sldLayoutId id="2147484548" r:id="rId10"/>
    <p:sldLayoutId id="2147484549" r:id="rId11"/>
    <p:sldLayoutId id="2147484550" r:id="rId12"/>
    <p:sldLayoutId id="2147484551" r:id="rId13"/>
    <p:sldLayoutId id="2147484552" r:id="rId1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•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2D72"/>
        </a:buClr>
        <a:buFont typeface="Arial" pitchFamily="34" charset="0"/>
        <a:buChar char="–"/>
        <a:defRPr sz="1477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4478" y="350113"/>
            <a:ext cx="11230029" cy="630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628" y="1190382"/>
            <a:ext cx="11230029" cy="5219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MX"/>
              <a:t>Click to edit Master text styles</a:t>
            </a:r>
          </a:p>
          <a:p>
            <a:pPr lvl="1"/>
            <a:r>
              <a:rPr lang="en-US" altLang="es-MX"/>
              <a:t>Second level</a:t>
            </a:r>
          </a:p>
          <a:p>
            <a:pPr lvl="2"/>
            <a:r>
              <a:rPr lang="en-US" altLang="es-MX"/>
              <a:t>Third level</a:t>
            </a:r>
          </a:p>
          <a:p>
            <a:pPr lvl="3"/>
            <a:r>
              <a:rPr lang="en-US" altLang="es-MX"/>
              <a:t>Fourth level</a:t>
            </a:r>
          </a:p>
          <a:p>
            <a:pPr lvl="4"/>
            <a:r>
              <a:rPr lang="en-US" altLang="es-MX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54097" y="6554105"/>
            <a:ext cx="377092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 b="1">
                <a:solidFill>
                  <a:schemeClr val="tx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69B70FD9-93A3-4F7E-AEAC-A89C9DCACB4E}" type="slidenum">
              <a:rPr lang="en-US" altLang="es-MX" smtClean="0">
                <a:solidFill>
                  <a:srgbClr val="002776"/>
                </a:solidFill>
                <a:cs typeface="Arial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s-MX" dirty="0">
              <a:solidFill>
                <a:srgbClr val="002776"/>
              </a:solidFill>
              <a:cs typeface="Arial" panose="020B0604020202020204" pitchFamily="34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029309" y="6554105"/>
            <a:ext cx="5756424" cy="14424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lnSpc>
                <a:spcPts val="1077"/>
              </a:lnSpc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2776"/>
                </a:solidFill>
              </a:rPr>
              <a:t>Footer</a:t>
            </a:r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524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hf hdr="0" ftr="0" dt="0"/>
  <p:txStyles>
    <p:titleStyle>
      <a:lvl1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defTabSz="914404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102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8204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2306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640799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307650" indent="-307650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82311" indent="-182311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•"/>
        <a:defRPr>
          <a:solidFill>
            <a:schemeClr val="tx2"/>
          </a:solidFill>
          <a:latin typeface="+mn-lt"/>
        </a:defRPr>
      </a:lvl2pPr>
      <a:lvl3pPr marL="357501" indent="-175190" algn="l" defTabSz="914404" rtl="0" eaLnBrk="0" fontAlgn="base" hangingPunct="0">
        <a:spcBef>
          <a:spcPct val="0"/>
        </a:spcBef>
        <a:spcAft>
          <a:spcPts val="269"/>
        </a:spcAft>
        <a:buFont typeface="Arial" panose="020B0604020202020204" pitchFamily="34" charset="0"/>
        <a:buChar char="‒"/>
        <a:defRPr>
          <a:solidFill>
            <a:schemeClr val="tx2"/>
          </a:solidFill>
          <a:latin typeface="+mn-lt"/>
        </a:defRPr>
      </a:lvl3pPr>
      <a:lvl4pPr marL="539812" indent="-182311" algn="l" defTabSz="91440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•"/>
        <a:defRPr sz="1400">
          <a:solidFill>
            <a:schemeClr val="tx2"/>
          </a:solidFill>
          <a:latin typeface="+mn-lt"/>
        </a:defRPr>
      </a:lvl4pPr>
      <a:lvl5pPr marL="712153" indent="-172341" algn="l" defTabSz="914404" rtl="0" eaLnBrk="0" fontAlgn="base" hangingPunct="0">
        <a:spcBef>
          <a:spcPct val="0"/>
        </a:spcBef>
        <a:spcAft>
          <a:spcPts val="538"/>
        </a:spcAft>
        <a:buFont typeface="Arial" panose="020B0604020202020204" pitchFamily="34" charset="0"/>
        <a:buChar char="‒"/>
        <a:defRPr sz="1400">
          <a:solidFill>
            <a:schemeClr val="tx2"/>
          </a:solidFill>
          <a:latin typeface="+mn-lt"/>
        </a:defRPr>
      </a:lvl5pPr>
      <a:lvl6pPr marL="11223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6pPr>
      <a:lvl7pPr marL="15325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7pPr>
      <a:lvl8pPr marL="19427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8pPr>
      <a:lvl9pPr marL="2352952" indent="-172341" algn="l" defTabSz="914404" rtl="0" eaLnBrk="1" fontAlgn="base" hangingPunct="1">
        <a:spcBef>
          <a:spcPct val="0"/>
        </a:spcBef>
        <a:spcAft>
          <a:spcPts val="538"/>
        </a:spcAft>
        <a:buFont typeface="Arial" pitchFamily="34" charset="0"/>
        <a:buChar char="‒"/>
        <a:defRPr sz="1400">
          <a:solidFill>
            <a:schemeClr val="tx2"/>
          </a:solidFill>
          <a:latin typeface="+mn-lt"/>
        </a:defRPr>
      </a:lvl9pPr>
    </p:bodyStyle>
    <p:otherStyle>
      <a:defPPr>
        <a:defRPr lang="es-MX"/>
      </a:defPPr>
      <a:lvl1pPr marL="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4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6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7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9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1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3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5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9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21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40" y="6440497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97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7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2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7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6" y="1344618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3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93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3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78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956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88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21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ooterSimple"/>
          <p:cNvSpPr/>
          <p:nvPr userDrawn="1">
            <p:custDataLst>
              <p:tags r:id="rId15"/>
            </p:custDataLst>
          </p:nvPr>
        </p:nvSpPr>
        <p:spPr>
          <a:xfrm>
            <a:off x="393794" y="6719264"/>
            <a:ext cx="793108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914400"/>
            <a:r>
              <a:rPr lang="en-US" sz="700" dirty="0">
                <a:solidFill>
                  <a:srgbClr val="808080"/>
                </a:solidFill>
                <a:cs typeface="Arial"/>
                <a:sym typeface="Arial"/>
              </a:rPr>
              <a:t>196301-97 - Deep dive on indicators - v17_01Nov17_JT_v01_extract_2017-11.._.ppt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39973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841383" y="6271547"/>
            <a:ext cx="458115" cy="276999"/>
          </a:xfrm>
          <a:prstGeom prst="rect">
            <a:avLst/>
          </a:prstGeom>
          <a:noFill/>
          <a:ln/>
          <a:effectLst/>
        </p:spPr>
        <p:txBody>
          <a:bodyPr wrap="none" lIns="91440" tIns="54864" rIns="91440" bIns="45720" rtlCol="0" anchor="t" anchorCtr="0">
            <a:noAutofit/>
          </a:bodyPr>
          <a:lstStyle/>
          <a:p>
            <a:pPr algn="r" defTabSz="914400">
              <a:defRPr/>
            </a:pPr>
            <a:fld id="{8FDC6993-5875-43F1-AB5B-56FAFD3221C9}" type="slidenum">
              <a:rPr lang="en-US" sz="1000" smtClean="0">
                <a:solidFill>
                  <a:srgbClr val="FFFFFF"/>
                </a:solidFill>
              </a:rPr>
              <a:pPr algn="r" defTabSz="914400">
                <a:defRPr/>
              </a:pPr>
              <a:t>‹#›</a:t>
            </a:fld>
            <a:endParaRPr lang="en-US" sz="1000" dirty="0">
              <a:solidFill>
                <a:srgbClr val="FFFFFF"/>
              </a:solidFill>
            </a:endParaRPr>
          </a:p>
          <a:p>
            <a:pPr defTabSz="914400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8131" y="6448894"/>
            <a:ext cx="7939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C7F43E-2420-6848-A2B2-B5C9DEF3CEAA}" type="slidenum">
              <a:rPr lang="en-US" sz="1000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/>
              <a:t>‹#›</a:t>
            </a:fld>
            <a:endParaRPr lang="en-US" sz="1000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5030" y="6552810"/>
            <a:ext cx="1076129" cy="141242"/>
          </a:xfrm>
          <a:prstGeom prst="rect">
            <a:avLst/>
          </a:prstGeom>
        </p:spPr>
      </p:pic>
      <p:pic>
        <p:nvPicPr>
          <p:cNvPr id="16" name="pasted-image.pdf" descr="pasted-image.pdf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393794" y="6416675"/>
            <a:ext cx="518061" cy="2566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709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 baseline="0">
          <a:solidFill>
            <a:srgbClr val="4472C4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•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2D72"/>
        </a:buClr>
        <a:buFont typeface="Arial" pitchFamily="34" charset="0"/>
        <a:buChar char="–"/>
        <a:defRPr sz="1600" kern="1200" baseline="0">
          <a:solidFill>
            <a:srgbClr val="002D72"/>
          </a:solidFill>
          <a:latin typeface="Arial"/>
          <a:ea typeface="+mn-ea"/>
          <a:cs typeface="Arial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5" y="314326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7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7" y="6440492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>
                <a:solidFill>
                  <a:srgbClr val="53565A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5" y="6440492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92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4103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12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253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38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507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879" indent="-288879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311" indent="-23015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569" indent="-226976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653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073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786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4989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115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242" indent="-223802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7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3" algn="l" defTabSz="457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4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4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4" y="6440489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>
              <a:defRPr/>
            </a:pPr>
            <a:fld id="{410BB04A-6CB2-A14D-B6AF-586C8C166E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89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89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09719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4199" r:id="rId9"/>
    <p:sldLayoutId id="2147484200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840" y="5943314"/>
            <a:ext cx="2468136" cy="1197772"/>
          </a:xfrm>
          <a:prstGeom prst="rect">
            <a:avLst/>
          </a:prstGeom>
        </p:spPr>
      </p:pic>
      <p:sp>
        <p:nvSpPr>
          <p:cNvPr id="1107" name="Rectangle 83"/>
          <p:cNvSpPr>
            <a:spLocks noGrp="1" noChangeArrowheads="1"/>
          </p:cNvSpPr>
          <p:nvPr>
            <p:ph type="title"/>
          </p:nvPr>
        </p:nvSpPr>
        <p:spPr bwMode="black">
          <a:xfrm>
            <a:off x="804334" y="314325"/>
            <a:ext cx="11055351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08" name="Rectangle 84"/>
          <p:cNvSpPr>
            <a:spLocks noGrp="1" noChangeArrowheads="1"/>
          </p:cNvSpPr>
          <p:nvPr>
            <p:ph type="body" idx="1"/>
          </p:nvPr>
        </p:nvSpPr>
        <p:spPr bwMode="black">
          <a:xfrm>
            <a:off x="804334" y="1344614"/>
            <a:ext cx="11063817" cy="492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09" name="Rectangle 8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34434" y="6440489"/>
            <a:ext cx="4614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10BB04A-6CB2-A14D-B6AF-586C8C166ED7}" type="slidenum">
              <a:rPr lang="en-US" smtClean="0">
                <a:solidFill>
                  <a:srgbClr val="53565A"/>
                </a:solidFill>
                <a:ea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53565A"/>
              </a:solidFill>
              <a:ea typeface="ＭＳ Ｐゴシック" charset="0"/>
            </a:endParaRPr>
          </a:p>
        </p:txBody>
      </p:sp>
      <p:sp>
        <p:nvSpPr>
          <p:cNvPr id="1111" name="Rectangle 87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804333" y="6440489"/>
            <a:ext cx="14224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Geneva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MM.DD.YY</a:t>
            </a:r>
          </a:p>
        </p:txBody>
      </p:sp>
      <p:sp>
        <p:nvSpPr>
          <p:cNvPr id="1116" name="Rectangle 92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2781300" y="6440489"/>
            <a:ext cx="542713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ea typeface="ヒラギノ角ゴ Pro W3" charset="0"/>
                <a:cs typeface="Geneva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53565A"/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45636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4197" r:id="rId9"/>
    <p:sldLayoutId id="2147484198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ヒラギノ角ゴ Pro W3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ヒラギノ角ゴ Pro W3" charset="0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4785"/>
          </a:solidFill>
          <a:latin typeface="Arial" charset="0"/>
          <a:ea typeface="Geneva" charset="0"/>
        </a:defRPr>
      </a:lvl9pPr>
    </p:titleStyle>
    <p:bodyStyle>
      <a:lvl1pPr marL="288925" indent="-288925" algn="l" rtl="0" eaLnBrk="1" fontAlgn="base" hangingPunct="1">
        <a:lnSpc>
          <a:spcPct val="95000"/>
        </a:lnSpc>
        <a:spcBef>
          <a:spcPct val="75000"/>
        </a:spcBef>
        <a:spcAft>
          <a:spcPct val="20000"/>
        </a:spcAft>
        <a:buChar char="•"/>
        <a:defRPr>
          <a:solidFill>
            <a:schemeClr val="tx1"/>
          </a:solidFill>
          <a:latin typeface="+mn-lt"/>
          <a:ea typeface="ヒラギノ角ゴ Pro W3" charset="0"/>
          <a:cs typeface="Geneva" charset="0"/>
        </a:defRPr>
      </a:lvl1pPr>
      <a:lvl2pPr marL="633413" indent="-23018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2pPr>
      <a:lvl3pPr marL="974725" indent="-227013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312863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16510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1082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5654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30226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479800" indent="-223838" algn="l" rtl="0" eaLnBrk="1" fontAlgn="base" hangingPunct="1">
        <a:lnSpc>
          <a:spcPct val="95000"/>
        </a:lnSpc>
        <a:spcBef>
          <a:spcPct val="20000"/>
        </a:spcBef>
        <a:spcAft>
          <a:spcPct val="20000"/>
        </a:spcAft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/>
          <p:nvPr/>
        </p:nvSpPr>
        <p:spPr>
          <a:xfrm>
            <a:off x="2752303" y="718778"/>
            <a:ext cx="7656393" cy="6463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lnSpc>
                <a:spcPct val="90000"/>
              </a:lnSpc>
              <a:defRPr sz="55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s-MX" sz="4000" dirty="0">
                <a:solidFill>
                  <a:srgbClr val="86CBD8"/>
                </a:solidFill>
              </a:rPr>
              <a:t>MX2020 Big Data</a:t>
            </a:r>
            <a:endParaRPr sz="4000" dirty="0">
              <a:solidFill>
                <a:srgbClr val="86CBD8"/>
              </a:solidFill>
            </a:endParaRPr>
          </a:p>
        </p:txBody>
      </p:sp>
      <p:sp>
        <p:nvSpPr>
          <p:cNvPr id="4" name="Rectangle 3"/>
          <p:cNvSpPr txBox="1"/>
          <p:nvPr/>
        </p:nvSpPr>
        <p:spPr>
          <a:xfrm>
            <a:off x="2981315" y="5529972"/>
            <a:ext cx="7585857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1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dirty="0">
                <a:solidFill>
                  <a:srgbClr val="7C194F"/>
                </a:solidFill>
              </a:rPr>
              <a:t>February 05, 2020</a:t>
            </a:r>
          </a:p>
        </p:txBody>
      </p:sp>
      <p:sp>
        <p:nvSpPr>
          <p:cNvPr id="5" name="Rectángulo 4"/>
          <p:cNvSpPr/>
          <p:nvPr/>
        </p:nvSpPr>
        <p:spPr>
          <a:xfrm>
            <a:off x="2981314" y="2285540"/>
            <a:ext cx="7278254" cy="707882"/>
          </a:xfrm>
          <a:prstGeom prst="rect">
            <a:avLst/>
          </a:prstGeom>
          <a:ln w="12700">
            <a:miter lim="400000"/>
          </a:ln>
        </p:spPr>
        <p:txBody>
          <a:bodyPr wrap="square" lIns="45718" tIns="45718" rIns="45718" bIns="45718">
            <a:spAutoFit/>
          </a:bodyPr>
          <a:lstStyle/>
          <a:p>
            <a:pPr defTabSz="914400"/>
            <a:r>
              <a:rPr lang="es-MX" sz="2000" b="1" dirty="0">
                <a:solidFill>
                  <a:srgbClr val="016AA2"/>
                </a:solidFill>
                <a:latin typeface="Arial"/>
                <a:ea typeface="Arial"/>
                <a:cs typeface="Arial"/>
              </a:rPr>
              <a:t>GCG </a:t>
            </a:r>
            <a:r>
              <a:rPr lang="en-US" sz="2000" b="1" dirty="0">
                <a:solidFill>
                  <a:srgbClr val="016AA2"/>
                </a:solidFill>
                <a:latin typeface="Arial"/>
                <a:ea typeface="Arial"/>
                <a:cs typeface="Arial"/>
                <a:sym typeface="Arial"/>
              </a:rPr>
              <a:t>Mexico</a:t>
            </a:r>
            <a:r>
              <a:rPr lang="es-MX" sz="2000" b="1" dirty="0">
                <a:solidFill>
                  <a:srgbClr val="016AA2"/>
                </a:solidFill>
                <a:latin typeface="Arial"/>
                <a:ea typeface="Arial"/>
                <a:cs typeface="Arial"/>
              </a:rPr>
              <a:t> – </a:t>
            </a:r>
            <a:r>
              <a:rPr lang="en-US" sz="2000" b="1" dirty="0">
                <a:solidFill>
                  <a:srgbClr val="87CBD8"/>
                </a:solidFill>
              </a:rPr>
              <a:t>Architecting HBase Applications</a:t>
            </a:r>
          </a:p>
          <a:p>
            <a:pPr defTabSz="914400"/>
            <a:endParaRPr lang="en-US" sz="2000" b="1" dirty="0">
              <a:solidFill>
                <a:srgbClr val="016AA2"/>
              </a:solidFill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5091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5">
            <a:extLst>
              <a:ext uri="{FF2B5EF4-FFF2-40B4-BE49-F238E27FC236}">
                <a16:creationId xmlns:a16="http://schemas.microsoft.com/office/drawing/2014/main" id="{16AA3C4F-7ADF-A541-9CA1-7E264F7DAD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644715"/>
              </p:ext>
            </p:extLst>
          </p:nvPr>
        </p:nvGraphicFramePr>
        <p:xfrm>
          <a:off x="1938528" y="581550"/>
          <a:ext cx="9729217" cy="3926442"/>
        </p:xfrm>
        <a:graphic>
          <a:graphicData uri="http://schemas.openxmlformats.org/drawingml/2006/table">
            <a:tbl>
              <a:tblPr/>
              <a:tblGrid>
                <a:gridCol w="1036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25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46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74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21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ersión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cha</a:t>
                      </a:r>
                      <a:endParaRPr kumimoji="0" lang="es-MX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 del Cambio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Times" pitchFamily="18" charset="0"/>
                        <a:buNone/>
                        <a:tabLst>
                          <a:tab pos="450850" algn="l"/>
                          <a:tab pos="900113" algn="l"/>
                          <a:tab pos="1349375" algn="l"/>
                          <a:tab pos="2251075" algn="l"/>
                        </a:tabLst>
                      </a:pPr>
                      <a:r>
                        <a:rPr kumimoji="0" lang="es-MX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utor/Departamento</a:t>
                      </a:r>
                      <a:endParaRPr kumimoji="0" lang="es-MX" sz="12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87CB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A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7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</a:rPr>
                        <a:t>1.0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</a:rPr>
                        <a:t>05/02/2020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charset="0"/>
                          <a:ea typeface="SimSun" pitchFamily="2" charset="-122"/>
                        </a:rPr>
                        <a:t>Creación del documento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kumimoji="0" lang="es-MX" sz="12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6AA2"/>
                          </a:solidFill>
                          <a:effectLst/>
                          <a:latin typeface="Arial" pitchFamily="34" charset="0"/>
                        </a:rPr>
                        <a:t>[Big Data Architecture]</a:t>
                      </a: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2971020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266419"/>
                  </a:ext>
                </a:extLst>
              </a:tr>
              <a:tr h="726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Tx/>
                        <a:buSzPct val="25000"/>
                        <a:buFontTx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SimSun" pitchFamily="2" charset="-122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25000"/>
                        <a:buFont typeface="Times" pitchFamily="18" charset="0"/>
                        <a:buNone/>
                        <a:tabLst/>
                        <a:defRPr/>
                      </a:pPr>
                      <a:endParaRPr kumimoji="0" lang="es-MX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72000" marT="71860" marB="71860" anchor="ctr" horzOverflow="overflow">
                    <a:lnL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A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4362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1670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>
            <a:extLst>
              <a:ext uri="{FF2B5EF4-FFF2-40B4-BE49-F238E27FC236}">
                <a16:creationId xmlns:a16="http://schemas.microsoft.com/office/drawing/2014/main" id="{201D0639-BB44-C54F-8B8F-68B040C33C42}"/>
              </a:ext>
            </a:extLst>
          </p:cNvPr>
          <p:cNvSpPr/>
          <p:nvPr/>
        </p:nvSpPr>
        <p:spPr>
          <a:xfrm>
            <a:off x="2250732" y="2227400"/>
            <a:ext cx="6791219" cy="39930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3"/>
          <p:cNvSpPr txBox="1"/>
          <p:nvPr/>
        </p:nvSpPr>
        <p:spPr>
          <a:xfrm>
            <a:off x="420831" y="637567"/>
            <a:ext cx="3849511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Architecting HBase Applications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CC9F8E-27A6-864E-AC24-9942AEF6EEA2}"/>
              </a:ext>
            </a:extLst>
          </p:cNvPr>
          <p:cNvSpPr/>
          <p:nvPr/>
        </p:nvSpPr>
        <p:spPr>
          <a:xfrm>
            <a:off x="2446908" y="2437921"/>
            <a:ext cx="6421368" cy="2615572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0B55094-CC7D-C442-A9E1-DC5331564453}"/>
              </a:ext>
            </a:extLst>
          </p:cNvPr>
          <p:cNvSpPr/>
          <p:nvPr/>
        </p:nvSpPr>
        <p:spPr>
          <a:xfrm>
            <a:off x="3335662" y="5275320"/>
            <a:ext cx="1704838" cy="80519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Google Shape;61;p12">
            <a:extLst>
              <a:ext uri="{FF2B5EF4-FFF2-40B4-BE49-F238E27FC236}">
                <a16:creationId xmlns:a16="http://schemas.microsoft.com/office/drawing/2014/main" id="{7FB4743F-A4B7-5142-A3AD-CF5391CE8A92}"/>
              </a:ext>
            </a:extLst>
          </p:cNvPr>
          <p:cNvSpPr txBox="1">
            <a:spLocks/>
          </p:cNvSpPr>
          <p:nvPr/>
        </p:nvSpPr>
        <p:spPr>
          <a:xfrm>
            <a:off x="2558265" y="2450006"/>
            <a:ext cx="986318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torag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314DE94-3C87-CB45-A80C-8109FD51DD2E}"/>
              </a:ext>
            </a:extLst>
          </p:cNvPr>
          <p:cNvGrpSpPr/>
          <p:nvPr/>
        </p:nvGrpSpPr>
        <p:grpSpPr>
          <a:xfrm>
            <a:off x="2835529" y="2814055"/>
            <a:ext cx="1266766" cy="387557"/>
            <a:chOff x="6418304" y="1924127"/>
            <a:chExt cx="1266766" cy="387557"/>
          </a:xfrm>
        </p:grpSpPr>
        <p:sp>
          <p:nvSpPr>
            <p:cNvPr id="77" name="Text Box 115">
              <a:extLst>
                <a:ext uri="{FF2B5EF4-FFF2-40B4-BE49-F238E27FC236}">
                  <a16:creationId xmlns:a16="http://schemas.microsoft.com/office/drawing/2014/main" id="{3B376880-C606-FD4E-9708-16157231EF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87" name="Google Shape;61;p12">
              <a:extLst>
                <a:ext uri="{FF2B5EF4-FFF2-40B4-BE49-F238E27FC236}">
                  <a16:creationId xmlns:a16="http://schemas.microsoft.com/office/drawing/2014/main" id="{BB3AD206-CBBA-0342-89FD-7CF7EEEE6556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Impala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D5F8A6E-940A-0C42-8D41-1C149FA28A27}"/>
              </a:ext>
            </a:extLst>
          </p:cNvPr>
          <p:cNvGrpSpPr/>
          <p:nvPr/>
        </p:nvGrpSpPr>
        <p:grpSpPr>
          <a:xfrm>
            <a:off x="5308055" y="3030113"/>
            <a:ext cx="1266766" cy="387557"/>
            <a:chOff x="6418304" y="1924127"/>
            <a:chExt cx="1266766" cy="387557"/>
          </a:xfrm>
        </p:grpSpPr>
        <p:sp>
          <p:nvSpPr>
            <p:cNvPr id="96" name="Text Box 115">
              <a:extLst>
                <a:ext uri="{FF2B5EF4-FFF2-40B4-BE49-F238E27FC236}">
                  <a16:creationId xmlns:a16="http://schemas.microsoft.com/office/drawing/2014/main" id="{252054EC-2427-F642-83B5-722EA0750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7" name="Google Shape;61;p12">
              <a:extLst>
                <a:ext uri="{FF2B5EF4-FFF2-40B4-BE49-F238E27FC236}">
                  <a16:creationId xmlns:a16="http://schemas.microsoft.com/office/drawing/2014/main" id="{CFC041A3-700F-A54A-AF48-931538877391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Base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C03EEB8-7529-0F45-B8D8-3E0505B50A53}"/>
              </a:ext>
            </a:extLst>
          </p:cNvPr>
          <p:cNvGrpSpPr/>
          <p:nvPr/>
        </p:nvGrpSpPr>
        <p:grpSpPr>
          <a:xfrm>
            <a:off x="7442867" y="3030112"/>
            <a:ext cx="1266766" cy="387557"/>
            <a:chOff x="6418304" y="1924127"/>
            <a:chExt cx="1266766" cy="387557"/>
          </a:xfrm>
        </p:grpSpPr>
        <p:sp>
          <p:nvSpPr>
            <p:cNvPr id="99" name="Text Box 115">
              <a:extLst>
                <a:ext uri="{FF2B5EF4-FFF2-40B4-BE49-F238E27FC236}">
                  <a16:creationId xmlns:a16="http://schemas.microsoft.com/office/drawing/2014/main" id="{84C22899-BFDF-9A42-B5A9-E10C01E356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00" name="Google Shape;61;p12">
              <a:extLst>
                <a:ext uri="{FF2B5EF4-FFF2-40B4-BE49-F238E27FC236}">
                  <a16:creationId xmlns:a16="http://schemas.microsoft.com/office/drawing/2014/main" id="{98F81174-ADA6-CF4B-A0D9-8449A2A7ACE5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Solr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B83B0D5-5F18-D946-8FF6-4A9536935497}"/>
              </a:ext>
            </a:extLst>
          </p:cNvPr>
          <p:cNvGrpSpPr/>
          <p:nvPr/>
        </p:nvGrpSpPr>
        <p:grpSpPr>
          <a:xfrm>
            <a:off x="2835529" y="3339180"/>
            <a:ext cx="1266766" cy="387557"/>
            <a:chOff x="6418304" y="1924127"/>
            <a:chExt cx="1266766" cy="387557"/>
          </a:xfrm>
        </p:grpSpPr>
        <p:sp>
          <p:nvSpPr>
            <p:cNvPr id="124" name="Text Box 115">
              <a:extLst>
                <a:ext uri="{FF2B5EF4-FFF2-40B4-BE49-F238E27FC236}">
                  <a16:creationId xmlns:a16="http://schemas.microsoft.com/office/drawing/2014/main" id="{6565D9DC-CD18-524D-B2DA-E21422B0B3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25" name="Google Shape;61;p12">
              <a:extLst>
                <a:ext uri="{FF2B5EF4-FFF2-40B4-BE49-F238E27FC236}">
                  <a16:creationId xmlns:a16="http://schemas.microsoft.com/office/drawing/2014/main" id="{BF5B3463-0FC2-8541-8087-76CF0D4E732D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ive</a:t>
              </a:r>
            </a:p>
          </p:txBody>
        </p:sp>
      </p:grp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9522A19-B6D3-A64C-9617-BF52253E5BE8}"/>
              </a:ext>
            </a:extLst>
          </p:cNvPr>
          <p:cNvCxnSpPr>
            <a:endCxn id="77" idx="3"/>
          </p:cNvCxnSpPr>
          <p:nvPr/>
        </p:nvCxnSpPr>
        <p:spPr>
          <a:xfrm rot="10800000">
            <a:off x="4102295" y="3007834"/>
            <a:ext cx="1154390" cy="216056"/>
          </a:xfrm>
          <a:prstGeom prst="bentConnector3">
            <a:avLst>
              <a:gd name="adj1" fmla="val 4822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>
            <a:extLst>
              <a:ext uri="{FF2B5EF4-FFF2-40B4-BE49-F238E27FC236}">
                <a16:creationId xmlns:a16="http://schemas.microsoft.com/office/drawing/2014/main" id="{C8824B78-C0E8-084E-B678-36D594339AB4}"/>
              </a:ext>
            </a:extLst>
          </p:cNvPr>
          <p:cNvCxnSpPr>
            <a:cxnSpLocks/>
            <a:stCxn id="96" idx="1"/>
            <a:endCxn id="124" idx="3"/>
          </p:cNvCxnSpPr>
          <p:nvPr/>
        </p:nvCxnSpPr>
        <p:spPr>
          <a:xfrm rot="10800000" flipV="1">
            <a:off x="4102295" y="3223891"/>
            <a:ext cx="1205760" cy="309067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27">
            <a:extLst>
              <a:ext uri="{FF2B5EF4-FFF2-40B4-BE49-F238E27FC236}">
                <a16:creationId xmlns:a16="http://schemas.microsoft.com/office/drawing/2014/main" id="{90D11C4A-3291-994A-92AA-C3F27FE47CDC}"/>
              </a:ext>
            </a:extLst>
          </p:cNvPr>
          <p:cNvCxnSpPr>
            <a:cxnSpLocks/>
            <a:stCxn id="96" idx="3"/>
            <a:endCxn id="99" idx="1"/>
          </p:cNvCxnSpPr>
          <p:nvPr/>
        </p:nvCxnSpPr>
        <p:spPr>
          <a:xfrm flipV="1">
            <a:off x="6574821" y="3223891"/>
            <a:ext cx="868046" cy="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Google Shape;61;p12">
            <a:extLst>
              <a:ext uri="{FF2B5EF4-FFF2-40B4-BE49-F238E27FC236}">
                <a16:creationId xmlns:a16="http://schemas.microsoft.com/office/drawing/2014/main" id="{1E8294C9-7055-8043-BB99-394CFF1AF10E}"/>
              </a:ext>
            </a:extLst>
          </p:cNvPr>
          <p:cNvSpPr txBox="1">
            <a:spLocks/>
          </p:cNvSpPr>
          <p:nvPr/>
        </p:nvSpPr>
        <p:spPr>
          <a:xfrm>
            <a:off x="6457735" y="2747412"/>
            <a:ext cx="985132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index</a:t>
            </a:r>
          </a:p>
        </p:txBody>
      </p:sp>
      <p:sp>
        <p:nvSpPr>
          <p:cNvPr id="130" name="Google Shape;61;p12">
            <a:extLst>
              <a:ext uri="{FF2B5EF4-FFF2-40B4-BE49-F238E27FC236}">
                <a16:creationId xmlns:a16="http://schemas.microsoft.com/office/drawing/2014/main" id="{5D20FC41-1AE1-2E4D-AE36-72ACBEA41C3B}"/>
              </a:ext>
            </a:extLst>
          </p:cNvPr>
          <p:cNvSpPr txBox="1">
            <a:spLocks/>
          </p:cNvSpPr>
          <p:nvPr/>
        </p:nvSpPr>
        <p:spPr>
          <a:xfrm>
            <a:off x="4565825" y="2775824"/>
            <a:ext cx="896977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job</a:t>
            </a: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AAD12A1A-C2EB-A94C-A67F-AE6FB2D373D9}"/>
              </a:ext>
            </a:extLst>
          </p:cNvPr>
          <p:cNvGrpSpPr/>
          <p:nvPr/>
        </p:nvGrpSpPr>
        <p:grpSpPr>
          <a:xfrm>
            <a:off x="5400992" y="4081298"/>
            <a:ext cx="1838119" cy="819296"/>
            <a:chOff x="6418303" y="1900580"/>
            <a:chExt cx="624667" cy="411105"/>
          </a:xfrm>
        </p:grpSpPr>
        <p:sp>
          <p:nvSpPr>
            <p:cNvPr id="136" name="Text Box 115">
              <a:extLst>
                <a:ext uri="{FF2B5EF4-FFF2-40B4-BE49-F238E27FC236}">
                  <a16:creationId xmlns:a16="http://schemas.microsoft.com/office/drawing/2014/main" id="{AE016357-FE93-6249-9DA0-4C9072801C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3" y="1924128"/>
              <a:ext cx="624667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37" name="Google Shape;61;p12">
              <a:extLst>
                <a:ext uri="{FF2B5EF4-FFF2-40B4-BE49-F238E27FC236}">
                  <a16:creationId xmlns:a16="http://schemas.microsoft.com/office/drawing/2014/main" id="{4AAFCE48-69A4-FF44-B4C3-E46780BA67CF}"/>
                </a:ext>
              </a:extLst>
            </p:cNvPr>
            <p:cNvSpPr txBox="1">
              <a:spLocks/>
            </p:cNvSpPr>
            <p:nvPr/>
          </p:nvSpPr>
          <p:spPr>
            <a:xfrm>
              <a:off x="6418303" y="1900580"/>
              <a:ext cx="202286" cy="199604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DFS</a:t>
              </a:r>
            </a:p>
          </p:txBody>
        </p:sp>
      </p:grpSp>
      <p:sp>
        <p:nvSpPr>
          <p:cNvPr id="138" name="Text Box 114">
            <a:extLst>
              <a:ext uri="{FF2B5EF4-FFF2-40B4-BE49-F238E27FC236}">
                <a16:creationId xmlns:a16="http://schemas.microsoft.com/office/drawing/2014/main" id="{60BDCC5D-B615-9A43-BC59-18DB4E2D0F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1419" y="4381149"/>
            <a:ext cx="1163142" cy="424072"/>
          </a:xfrm>
          <a:prstGeom prst="rect">
            <a:avLst/>
          </a:prstGeom>
          <a:solidFill>
            <a:srgbClr val="87CBD8"/>
          </a:solidFill>
          <a:ln w="12700">
            <a:solidFill>
              <a:srgbClr val="0067B7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defPPr>
              <a:defRPr lang="es-ES"/>
            </a:defPPr>
            <a:lvl1pPr algn="ctr" defTabSz="449263" eaLnBrk="0" hangingPunct="0">
              <a:buSzPct val="13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 b="1">
                <a:solidFill>
                  <a:schemeClr val="bg1"/>
                </a:solidFill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cs typeface="Arial" charset="0"/>
              </a:defRPr>
            </a:lvl9pPr>
          </a:lstStyle>
          <a:p>
            <a: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/>
            </a:pPr>
            <a:r>
              <a:rPr lang="en-GB" altLang="pt-BR" sz="1050" b="0" dirty="0">
                <a:solidFill>
                  <a:srgbClr val="0067B7"/>
                </a:solidFill>
                <a:latin typeface="Comic Sans MS" panose="030F0902030302020204" pitchFamily="66" charset="0"/>
              </a:rPr>
              <a:t>Row</a:t>
            </a:r>
          </a:p>
        </p:txBody>
      </p:sp>
      <p:sp>
        <p:nvSpPr>
          <p:cNvPr id="141" name="Text Box 115">
            <a:extLst>
              <a:ext uri="{FF2B5EF4-FFF2-40B4-BE49-F238E27FC236}">
                <a16:creationId xmlns:a16="http://schemas.microsoft.com/office/drawing/2014/main" id="{6D6828B0-551A-A647-A093-0EF6C0D989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2237" y="5446462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Batch Event </a:t>
            </a:r>
          </a:p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Processing Engine</a:t>
            </a:r>
          </a:p>
        </p:txBody>
      </p:sp>
      <p:cxnSp>
        <p:nvCxnSpPr>
          <p:cNvPr id="143" name="Elbow Connector 142">
            <a:extLst>
              <a:ext uri="{FF2B5EF4-FFF2-40B4-BE49-F238E27FC236}">
                <a16:creationId xmlns:a16="http://schemas.microsoft.com/office/drawing/2014/main" id="{6EDBB9A1-2346-7649-B5C9-1D73CB25230C}"/>
              </a:ext>
            </a:extLst>
          </p:cNvPr>
          <p:cNvCxnSpPr>
            <a:cxnSpLocks/>
            <a:stCxn id="136" idx="2"/>
            <a:endCxn id="141" idx="0"/>
          </p:cNvCxnSpPr>
          <p:nvPr/>
        </p:nvCxnSpPr>
        <p:spPr>
          <a:xfrm rot="5400000">
            <a:off x="4983671" y="4110081"/>
            <a:ext cx="545868" cy="2126895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5818FF4-27A8-8E48-8D30-A88EDFE1BDC3}"/>
              </a:ext>
            </a:extLst>
          </p:cNvPr>
          <p:cNvSpPr/>
          <p:nvPr/>
        </p:nvSpPr>
        <p:spPr>
          <a:xfrm>
            <a:off x="9377707" y="3769636"/>
            <a:ext cx="1578734" cy="86352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Text Box 115">
            <a:extLst>
              <a:ext uri="{FF2B5EF4-FFF2-40B4-BE49-F238E27FC236}">
                <a16:creationId xmlns:a16="http://schemas.microsoft.com/office/drawing/2014/main" id="{D25FE3A4-0E5B-F04C-A243-D5F137BA6F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4360" y="3940778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Event Hub</a:t>
            </a:r>
          </a:p>
        </p:txBody>
      </p:sp>
      <p:cxnSp>
        <p:nvCxnSpPr>
          <p:cNvPr id="159" name="Elbow Connector 158">
            <a:extLst>
              <a:ext uri="{FF2B5EF4-FFF2-40B4-BE49-F238E27FC236}">
                <a16:creationId xmlns:a16="http://schemas.microsoft.com/office/drawing/2014/main" id="{050F97A9-14F0-F04F-93D6-A0421B741B3A}"/>
              </a:ext>
            </a:extLst>
          </p:cNvPr>
          <p:cNvCxnSpPr>
            <a:cxnSpLocks/>
            <a:stCxn id="156" idx="1"/>
            <a:endCxn id="136" idx="3"/>
          </p:cNvCxnSpPr>
          <p:nvPr/>
        </p:nvCxnSpPr>
        <p:spPr>
          <a:xfrm rot="10800000" flipV="1">
            <a:off x="7239112" y="4188649"/>
            <a:ext cx="2275249" cy="32576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D4D6B444-77F7-6049-A76C-EC8F4B9EE614}"/>
              </a:ext>
            </a:extLst>
          </p:cNvPr>
          <p:cNvGrpSpPr/>
          <p:nvPr/>
        </p:nvGrpSpPr>
        <p:grpSpPr>
          <a:xfrm rot="19530673">
            <a:off x="5099412" y="5230049"/>
            <a:ext cx="301686" cy="265870"/>
            <a:chOff x="720866" y="1199338"/>
            <a:chExt cx="301686" cy="265870"/>
          </a:xfrm>
        </p:grpSpPr>
        <p:sp>
          <p:nvSpPr>
            <p:cNvPr id="167" name="Google Shape;431;p39">
              <a:extLst>
                <a:ext uri="{FF2B5EF4-FFF2-40B4-BE49-F238E27FC236}">
                  <a16:creationId xmlns:a16="http://schemas.microsoft.com/office/drawing/2014/main" id="{605610EC-95ED-FA47-8C22-356E642A6F5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92A1BCB1-3AEE-2645-900C-DC625EED2CCC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2</a:t>
              </a: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982F90DE-8B0A-C048-9B55-481BFBE1560E}"/>
              </a:ext>
            </a:extLst>
          </p:cNvPr>
          <p:cNvGrpSpPr/>
          <p:nvPr/>
        </p:nvGrpSpPr>
        <p:grpSpPr>
          <a:xfrm rot="19530673">
            <a:off x="4427508" y="3264591"/>
            <a:ext cx="301686" cy="265870"/>
            <a:chOff x="720866" y="1199338"/>
            <a:chExt cx="301686" cy="265870"/>
          </a:xfrm>
        </p:grpSpPr>
        <p:sp>
          <p:nvSpPr>
            <p:cNvPr id="170" name="Google Shape;431;p39">
              <a:extLst>
                <a:ext uri="{FF2B5EF4-FFF2-40B4-BE49-F238E27FC236}">
                  <a16:creationId xmlns:a16="http://schemas.microsoft.com/office/drawing/2014/main" id="{F8FADFF7-993A-6648-ABFB-7AB058C0754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32F430DF-58DB-7F49-A6F7-C8CD27B06AA0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4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E25734F-0411-8443-AC4A-D1F4EBE65F1B}"/>
              </a:ext>
            </a:extLst>
          </p:cNvPr>
          <p:cNvGrpSpPr/>
          <p:nvPr/>
        </p:nvGrpSpPr>
        <p:grpSpPr>
          <a:xfrm rot="19530673">
            <a:off x="3817544" y="4580580"/>
            <a:ext cx="301686" cy="265870"/>
            <a:chOff x="720866" y="1199338"/>
            <a:chExt cx="301686" cy="265870"/>
          </a:xfrm>
        </p:grpSpPr>
        <p:sp>
          <p:nvSpPr>
            <p:cNvPr id="191" name="Google Shape;431;p39">
              <a:extLst>
                <a:ext uri="{FF2B5EF4-FFF2-40B4-BE49-F238E27FC236}">
                  <a16:creationId xmlns:a16="http://schemas.microsoft.com/office/drawing/2014/main" id="{0CDD4076-FB82-5947-9CB7-B81E559CE51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9913E79-2D3D-0146-BE96-17D569C19A7F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3</a:t>
              </a:r>
            </a:p>
          </p:txBody>
        </p:sp>
      </p:grp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880FCD-F45B-6647-8D10-BD8E03D027B0}"/>
              </a:ext>
            </a:extLst>
          </p:cNvPr>
          <p:cNvSpPr/>
          <p:nvPr/>
        </p:nvSpPr>
        <p:spPr>
          <a:xfrm>
            <a:off x="7391221" y="2977012"/>
            <a:ext cx="1379741" cy="482582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0A012AE-81FC-0D4A-8640-4BD176401106}"/>
              </a:ext>
            </a:extLst>
          </p:cNvPr>
          <p:cNvSpPr/>
          <p:nvPr/>
        </p:nvSpPr>
        <p:spPr>
          <a:xfrm>
            <a:off x="2767138" y="2747412"/>
            <a:ext cx="1410624" cy="528664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Google Shape;61;p12">
            <a:extLst>
              <a:ext uri="{FF2B5EF4-FFF2-40B4-BE49-F238E27FC236}">
                <a16:creationId xmlns:a16="http://schemas.microsoft.com/office/drawing/2014/main" id="{8201BBEE-1ABF-2940-90BA-C2268E53EC67}"/>
              </a:ext>
            </a:extLst>
          </p:cNvPr>
          <p:cNvSpPr txBox="1">
            <a:spLocks/>
          </p:cNvSpPr>
          <p:nvPr/>
        </p:nvSpPr>
        <p:spPr>
          <a:xfrm>
            <a:off x="9213733" y="3726737"/>
            <a:ext cx="839351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urce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17E7B101-BC89-9948-A1F5-7B47986511B3}"/>
              </a:ext>
            </a:extLst>
          </p:cNvPr>
          <p:cNvSpPr/>
          <p:nvPr/>
        </p:nvSpPr>
        <p:spPr>
          <a:xfrm>
            <a:off x="1479069" y="1143814"/>
            <a:ext cx="2010893" cy="882058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Text Box 115">
            <a:extLst>
              <a:ext uri="{FF2B5EF4-FFF2-40B4-BE49-F238E27FC236}">
                <a16:creationId xmlns:a16="http://schemas.microsoft.com/office/drawing/2014/main" id="{73FEB6F4-1985-2446-B6DD-E5E34A16C3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8079" y="1386874"/>
            <a:ext cx="1722134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Data Visualization Tools</a:t>
            </a:r>
          </a:p>
        </p:txBody>
      </p:sp>
      <p:sp>
        <p:nvSpPr>
          <p:cNvPr id="200" name="Google Shape;61;p12">
            <a:extLst>
              <a:ext uri="{FF2B5EF4-FFF2-40B4-BE49-F238E27FC236}">
                <a16:creationId xmlns:a16="http://schemas.microsoft.com/office/drawing/2014/main" id="{302009A1-C454-6847-89A5-CBA0DD6D7B95}"/>
              </a:ext>
            </a:extLst>
          </p:cNvPr>
          <p:cNvSpPr txBox="1">
            <a:spLocks/>
          </p:cNvSpPr>
          <p:nvPr/>
        </p:nvSpPr>
        <p:spPr>
          <a:xfrm>
            <a:off x="1459275" y="1121514"/>
            <a:ext cx="1158362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erving layer</a:t>
            </a:r>
          </a:p>
        </p:txBody>
      </p:sp>
      <p:cxnSp>
        <p:nvCxnSpPr>
          <p:cNvPr id="211" name="Elbow Connector 210">
            <a:extLst>
              <a:ext uri="{FF2B5EF4-FFF2-40B4-BE49-F238E27FC236}">
                <a16:creationId xmlns:a16="http://schemas.microsoft.com/office/drawing/2014/main" id="{946E7CE7-EE6D-7648-92F0-98C706456EE9}"/>
              </a:ext>
            </a:extLst>
          </p:cNvPr>
          <p:cNvCxnSpPr>
            <a:cxnSpLocks/>
            <a:stCxn id="124" idx="1"/>
            <a:endCxn id="199" idx="2"/>
          </p:cNvCxnSpPr>
          <p:nvPr/>
        </p:nvCxnSpPr>
        <p:spPr>
          <a:xfrm rot="10800000">
            <a:off x="2479147" y="1882619"/>
            <a:ext cx="356383" cy="1650341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Elbow Connector 214">
            <a:extLst>
              <a:ext uri="{FF2B5EF4-FFF2-40B4-BE49-F238E27FC236}">
                <a16:creationId xmlns:a16="http://schemas.microsoft.com/office/drawing/2014/main" id="{5E46A883-8DE3-F449-99F8-3AD0715C5C81}"/>
              </a:ext>
            </a:extLst>
          </p:cNvPr>
          <p:cNvCxnSpPr>
            <a:cxnSpLocks/>
            <a:stCxn id="194" idx="1"/>
            <a:endCxn id="199" idx="2"/>
          </p:cNvCxnSpPr>
          <p:nvPr/>
        </p:nvCxnSpPr>
        <p:spPr>
          <a:xfrm rot="10800000">
            <a:off x="2479146" y="1882618"/>
            <a:ext cx="287992" cy="1129126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2F5EB25-D492-E949-BAD9-2E84BA4C0BF4}"/>
              </a:ext>
            </a:extLst>
          </p:cNvPr>
          <p:cNvGrpSpPr/>
          <p:nvPr/>
        </p:nvGrpSpPr>
        <p:grpSpPr>
          <a:xfrm>
            <a:off x="10089781" y="324263"/>
            <a:ext cx="1569747" cy="398276"/>
            <a:chOff x="10089781" y="324263"/>
            <a:chExt cx="1569747" cy="398276"/>
          </a:xfrm>
        </p:grpSpPr>
        <p:sp>
          <p:nvSpPr>
            <p:cNvPr id="7" name="Text Box 115">
              <a:extLst>
                <a:ext uri="{FF2B5EF4-FFF2-40B4-BE49-F238E27FC236}">
                  <a16:creationId xmlns:a16="http://schemas.microsoft.com/office/drawing/2014/main" id="{E0222F90-406D-184C-A846-B36F0C79D7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6708" y="395611"/>
              <a:ext cx="501650" cy="88900"/>
            </a:xfrm>
            <a:prstGeom prst="rect">
              <a:avLst/>
            </a:prstGeom>
            <a:solidFill>
              <a:srgbClr val="C5277F">
                <a:alpha val="50000"/>
              </a:srgbClr>
            </a:solidFill>
            <a:ln w="12700">
              <a:solidFill>
                <a:srgbClr val="7C1A4D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" name="Text Box 118">
              <a:extLst>
                <a:ext uri="{FF2B5EF4-FFF2-40B4-BE49-F238E27FC236}">
                  <a16:creationId xmlns:a16="http://schemas.microsoft.com/office/drawing/2014/main" id="{B27AC165-25C0-3844-BF5B-7DEACEDE8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37481" y="324263"/>
              <a:ext cx="92204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None/>
                <a:defRPr sz="900" b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pt-BR" dirty="0" err="1"/>
                <a:t>Second</a:t>
              </a:r>
              <a:r>
                <a:rPr lang="es-ES" altLang="pt-BR" dirty="0"/>
                <a:t> </a:t>
              </a:r>
              <a:r>
                <a:rPr lang="es-ES" altLang="pt-BR" dirty="0" err="1"/>
                <a:t>stage</a:t>
              </a:r>
              <a:r>
                <a:rPr lang="es-ES" altLang="pt-BR" dirty="0"/>
                <a:t> </a:t>
              </a:r>
            </a:p>
          </p:txBody>
        </p:sp>
        <p:sp>
          <p:nvSpPr>
            <p:cNvPr id="10" name="Rectangle 119">
              <a:extLst>
                <a:ext uri="{FF2B5EF4-FFF2-40B4-BE49-F238E27FC236}">
                  <a16:creationId xmlns:a16="http://schemas.microsoft.com/office/drawing/2014/main" id="{7F20A950-BA5D-E742-9E7D-45DB7EED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9781" y="324263"/>
              <a:ext cx="1569747" cy="39827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accent2"/>
                </a:buClr>
                <a:buFont typeface="Wingdings" pitchFamily="2" charset="2"/>
                <a:buNone/>
              </a:pPr>
              <a:endParaRPr lang="pt-BR" altLang="pt-BR" b="0">
                <a:solidFill>
                  <a:schemeClr val="tx1"/>
                </a:solidFill>
              </a:endParaRPr>
            </a:p>
          </p:txBody>
        </p:sp>
        <p:sp>
          <p:nvSpPr>
            <p:cNvPr id="61" name="Text Box 115">
              <a:extLst>
                <a:ext uri="{FF2B5EF4-FFF2-40B4-BE49-F238E27FC236}">
                  <a16:creationId xmlns:a16="http://schemas.microsoft.com/office/drawing/2014/main" id="{E74167D8-B6BA-2C4E-9822-B5DB704AE0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9435" y="562672"/>
              <a:ext cx="509197" cy="88901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endParaRPr>
            </a:p>
          </p:txBody>
        </p:sp>
        <p:sp>
          <p:nvSpPr>
            <p:cNvPr id="62" name="Text Box 118">
              <a:extLst>
                <a:ext uri="{FF2B5EF4-FFF2-40B4-BE49-F238E27FC236}">
                  <a16:creationId xmlns:a16="http://schemas.microsoft.com/office/drawing/2014/main" id="{CEAE94F0-D301-3341-9ECF-6D65B33680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42330" y="491706"/>
              <a:ext cx="75533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First phase</a:t>
              </a:r>
              <a:endParaRPr lang="es-ES" altLang="pt-BR" sz="900" b="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4" name="Google Shape;61;p12">
            <a:extLst>
              <a:ext uri="{FF2B5EF4-FFF2-40B4-BE49-F238E27FC236}">
                <a16:creationId xmlns:a16="http://schemas.microsoft.com/office/drawing/2014/main" id="{A0ABAB34-D503-3F4A-BB0D-42C2ABB729B3}"/>
              </a:ext>
            </a:extLst>
          </p:cNvPr>
          <p:cNvSpPr txBox="1">
            <a:spLocks/>
          </p:cNvSpPr>
          <p:nvPr/>
        </p:nvSpPr>
        <p:spPr>
          <a:xfrm>
            <a:off x="7422399" y="4581839"/>
            <a:ext cx="1510368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The ingest phase includes acquiring the Json files, landing them in HDFS.</a:t>
            </a:r>
          </a:p>
        </p:txBody>
      </p:sp>
      <p:sp>
        <p:nvSpPr>
          <p:cNvPr id="67" name="Google Shape;61;p12">
            <a:extLst>
              <a:ext uri="{FF2B5EF4-FFF2-40B4-BE49-F238E27FC236}">
                <a16:creationId xmlns:a16="http://schemas.microsoft.com/office/drawing/2014/main" id="{4FA54DEF-E59C-D34B-B07C-AFB16249E2EE}"/>
              </a:ext>
            </a:extLst>
          </p:cNvPr>
          <p:cNvSpPr txBox="1">
            <a:spLocks/>
          </p:cNvSpPr>
          <p:nvPr/>
        </p:nvSpPr>
        <p:spPr>
          <a:xfrm>
            <a:off x="6758393" y="1254858"/>
            <a:ext cx="2109883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The HBase Indexer provides the ability to stream events from HBase to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Solr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for near real time searching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sp>
        <p:nvSpPr>
          <p:cNvPr id="69" name="Google Shape;61;p12">
            <a:extLst>
              <a:ext uri="{FF2B5EF4-FFF2-40B4-BE49-F238E27FC236}">
                <a16:creationId xmlns:a16="http://schemas.microsoft.com/office/drawing/2014/main" id="{90C1476B-5CCA-4C4C-804D-EC8CDDDE5903}"/>
              </a:ext>
            </a:extLst>
          </p:cNvPr>
          <p:cNvSpPr txBox="1">
            <a:spLocks/>
          </p:cNvSpPr>
          <p:nvPr/>
        </p:nvSpPr>
        <p:spPr>
          <a:xfrm>
            <a:off x="3647124" y="1264622"/>
            <a:ext cx="2672929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You can use Impala to query HBase tables. This capability allows convenient access to a storage system that is tuned for different kinds of workloads than the default with. Impala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D6D4B221-E4A8-FD45-9BCC-ECF7DC12A9E3}"/>
              </a:ext>
            </a:extLst>
          </p:cNvPr>
          <p:cNvCxnSpPr>
            <a:cxnSpLocks/>
            <a:stCxn id="69" idx="2"/>
            <a:endCxn id="194" idx="0"/>
          </p:cNvCxnSpPr>
          <p:nvPr/>
        </p:nvCxnSpPr>
        <p:spPr>
          <a:xfrm rot="5400000">
            <a:off x="3927654" y="1691477"/>
            <a:ext cx="600732" cy="1511139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>
            <a:extLst>
              <a:ext uri="{FF2B5EF4-FFF2-40B4-BE49-F238E27FC236}">
                <a16:creationId xmlns:a16="http://schemas.microsoft.com/office/drawing/2014/main" id="{CBEEE766-8440-7045-84AF-F96D9706840E}"/>
              </a:ext>
            </a:extLst>
          </p:cNvPr>
          <p:cNvCxnSpPr>
            <a:cxnSpLocks/>
            <a:stCxn id="67" idx="2"/>
            <a:endCxn id="193" idx="0"/>
          </p:cNvCxnSpPr>
          <p:nvPr/>
        </p:nvCxnSpPr>
        <p:spPr>
          <a:xfrm rot="16200000" flipH="1">
            <a:off x="7527165" y="2423085"/>
            <a:ext cx="840096" cy="267757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84CEAAD5-8A8A-A447-BDFA-A19B0479D3ED}"/>
              </a:ext>
            </a:extLst>
          </p:cNvPr>
          <p:cNvCxnSpPr>
            <a:cxnSpLocks/>
            <a:stCxn id="96" idx="2"/>
            <a:endCxn id="141" idx="0"/>
          </p:cNvCxnSpPr>
          <p:nvPr/>
        </p:nvCxnSpPr>
        <p:spPr>
          <a:xfrm rot="5400000">
            <a:off x="4052902" y="3557926"/>
            <a:ext cx="2028792" cy="1748281"/>
          </a:xfrm>
          <a:prstGeom prst="bentConnector3">
            <a:avLst>
              <a:gd name="adj1" fmla="val 3025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BB1352A-AC02-444F-A941-53F055112848}"/>
              </a:ext>
            </a:extLst>
          </p:cNvPr>
          <p:cNvGrpSpPr/>
          <p:nvPr/>
        </p:nvGrpSpPr>
        <p:grpSpPr>
          <a:xfrm rot="19530673">
            <a:off x="7272762" y="4618780"/>
            <a:ext cx="301686" cy="265870"/>
            <a:chOff x="720866" y="1199338"/>
            <a:chExt cx="301686" cy="265870"/>
          </a:xfrm>
        </p:grpSpPr>
        <p:sp>
          <p:nvSpPr>
            <p:cNvPr id="102" name="Google Shape;431;p39">
              <a:extLst>
                <a:ext uri="{FF2B5EF4-FFF2-40B4-BE49-F238E27FC236}">
                  <a16:creationId xmlns:a16="http://schemas.microsoft.com/office/drawing/2014/main" id="{1D103DD0-884C-E048-8F3B-A41CE3BD1283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4A7A1F0-FD7D-FE47-AC02-40D2761A4D46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1</a:t>
              </a:r>
            </a:p>
          </p:txBody>
        </p:sp>
      </p:grpSp>
      <p:sp>
        <p:nvSpPr>
          <p:cNvPr id="104" name="Google Shape;61;p12">
            <a:extLst>
              <a:ext uri="{FF2B5EF4-FFF2-40B4-BE49-F238E27FC236}">
                <a16:creationId xmlns:a16="http://schemas.microsoft.com/office/drawing/2014/main" id="{E78FC96D-6A73-2843-8AAF-1249D23862B1}"/>
              </a:ext>
            </a:extLst>
          </p:cNvPr>
          <p:cNvSpPr txBox="1">
            <a:spLocks/>
          </p:cNvSpPr>
          <p:nvPr/>
        </p:nvSpPr>
        <p:spPr>
          <a:xfrm>
            <a:off x="5325126" y="5285573"/>
            <a:ext cx="1704839" cy="63513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 series of transformations are performed to join the relevant data sets. Most of these unions are made based on a primary key in the data</a:t>
            </a:r>
          </a:p>
        </p:txBody>
      </p:sp>
      <p:sp>
        <p:nvSpPr>
          <p:cNvPr id="108" name="Google Shape;61;p12">
            <a:extLst>
              <a:ext uri="{FF2B5EF4-FFF2-40B4-BE49-F238E27FC236}">
                <a16:creationId xmlns:a16="http://schemas.microsoft.com/office/drawing/2014/main" id="{0657AE43-BE35-B94C-8DF6-5D2A86419D12}"/>
              </a:ext>
            </a:extLst>
          </p:cNvPr>
          <p:cNvSpPr txBox="1">
            <a:spLocks/>
          </p:cNvSpPr>
          <p:nvPr/>
        </p:nvSpPr>
        <p:spPr>
          <a:xfrm>
            <a:off x="2339904" y="4727416"/>
            <a:ext cx="2010893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Data is load into deferens engine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7E67A07-BF6D-0F4F-BBC6-00C1C979087E}"/>
              </a:ext>
            </a:extLst>
          </p:cNvPr>
          <p:cNvGrpSpPr/>
          <p:nvPr/>
        </p:nvGrpSpPr>
        <p:grpSpPr>
          <a:xfrm rot="19530673">
            <a:off x="1889534" y="2138372"/>
            <a:ext cx="301686" cy="265870"/>
            <a:chOff x="720866" y="1199338"/>
            <a:chExt cx="301686" cy="265870"/>
          </a:xfrm>
        </p:grpSpPr>
        <p:sp>
          <p:nvSpPr>
            <p:cNvPr id="110" name="Google Shape;431;p39">
              <a:extLst>
                <a:ext uri="{FF2B5EF4-FFF2-40B4-BE49-F238E27FC236}">
                  <a16:creationId xmlns:a16="http://schemas.microsoft.com/office/drawing/2014/main" id="{163D12B5-C0AD-0148-AF95-EB8FE1814F6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A6ED36F0-844C-6545-A544-8D02FEFA3349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4</a:t>
              </a:r>
            </a:p>
          </p:txBody>
        </p:sp>
      </p:grpSp>
      <p:sp>
        <p:nvSpPr>
          <p:cNvPr id="112" name="Google Shape;61;p12">
            <a:extLst>
              <a:ext uri="{FF2B5EF4-FFF2-40B4-BE49-F238E27FC236}">
                <a16:creationId xmlns:a16="http://schemas.microsoft.com/office/drawing/2014/main" id="{E8DB85AC-00F3-AD42-83FD-B5D212A0989F}"/>
              </a:ext>
            </a:extLst>
          </p:cNvPr>
          <p:cNvSpPr txBox="1">
            <a:spLocks/>
          </p:cNvSpPr>
          <p:nvPr/>
        </p:nvSpPr>
        <p:spPr>
          <a:xfrm>
            <a:off x="2417519" y="3912008"/>
            <a:ext cx="1748282" cy="65607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fter the data is loaded into the HBase tables, they are propagated to two other service engines. The first service engine is Hive, the second is Impala and the second </a:t>
            </a:r>
            <a:r>
              <a:rPr lang="en-US" sz="800" dirty="0" err="1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lr</a:t>
            </a: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 in a second stage.</a:t>
            </a:r>
          </a:p>
        </p:txBody>
      </p:sp>
    </p:spTree>
    <p:extLst>
      <p:ext uri="{BB962C8B-B14F-4D97-AF65-F5344CB8AC3E}">
        <p14:creationId xmlns:p14="http://schemas.microsoft.com/office/powerpoint/2010/main" val="616149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Rectangle 150">
            <a:extLst>
              <a:ext uri="{FF2B5EF4-FFF2-40B4-BE49-F238E27FC236}">
                <a16:creationId xmlns:a16="http://schemas.microsoft.com/office/drawing/2014/main" id="{201D0639-BB44-C54F-8B8F-68B040C33C42}"/>
              </a:ext>
            </a:extLst>
          </p:cNvPr>
          <p:cNvSpPr/>
          <p:nvPr/>
        </p:nvSpPr>
        <p:spPr>
          <a:xfrm>
            <a:off x="2250732" y="2227400"/>
            <a:ext cx="6791219" cy="39930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3"/>
          <p:cNvSpPr txBox="1"/>
          <p:nvPr/>
        </p:nvSpPr>
        <p:spPr>
          <a:xfrm>
            <a:off x="420831" y="637567"/>
            <a:ext cx="3849511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000">
                <a:solidFill>
                  <a:srgbClr val="104D6A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/>
            </a:pPr>
            <a:r>
              <a:rPr lang="en-US" sz="1800" b="1" dirty="0">
                <a:solidFill>
                  <a:srgbClr val="87CBD8"/>
                </a:solidFill>
              </a:rPr>
              <a:t>Architecting HBase Applications</a:t>
            </a:r>
          </a:p>
        </p:txBody>
      </p:sp>
      <p:sp>
        <p:nvSpPr>
          <p:cNvPr id="122" name="Rectangle 3">
            <a:extLst>
              <a:ext uri="{FF2B5EF4-FFF2-40B4-BE49-F238E27FC236}">
                <a16:creationId xmlns:a16="http://schemas.microsoft.com/office/drawing/2014/main" id="{51E0C841-ED3D-2F4C-9A84-F2C04DC16BC0}"/>
              </a:ext>
            </a:extLst>
          </p:cNvPr>
          <p:cNvSpPr txBox="1"/>
          <p:nvPr/>
        </p:nvSpPr>
        <p:spPr>
          <a:xfrm>
            <a:off x="404809" y="237462"/>
            <a:ext cx="5816248" cy="4001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l" defTabSz="914400">
              <a:defRPr sz="2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000" dirty="0">
                <a:solidFill>
                  <a:srgbClr val="016AA2"/>
                </a:solidFill>
              </a:rPr>
              <a:t>Needs and Solution Proposal (I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CC9F8E-27A6-864E-AC24-9942AEF6EEA2}"/>
              </a:ext>
            </a:extLst>
          </p:cNvPr>
          <p:cNvSpPr/>
          <p:nvPr/>
        </p:nvSpPr>
        <p:spPr>
          <a:xfrm>
            <a:off x="2446908" y="2437921"/>
            <a:ext cx="6421368" cy="2615572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Google Shape;61;p12">
            <a:extLst>
              <a:ext uri="{FF2B5EF4-FFF2-40B4-BE49-F238E27FC236}">
                <a16:creationId xmlns:a16="http://schemas.microsoft.com/office/drawing/2014/main" id="{7FB4743F-A4B7-5142-A3AD-CF5391CE8A92}"/>
              </a:ext>
            </a:extLst>
          </p:cNvPr>
          <p:cNvSpPr txBox="1">
            <a:spLocks/>
          </p:cNvSpPr>
          <p:nvPr/>
        </p:nvSpPr>
        <p:spPr>
          <a:xfrm>
            <a:off x="2558265" y="2450006"/>
            <a:ext cx="986318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torag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314DE94-3C87-CB45-A80C-8109FD51DD2E}"/>
              </a:ext>
            </a:extLst>
          </p:cNvPr>
          <p:cNvGrpSpPr/>
          <p:nvPr/>
        </p:nvGrpSpPr>
        <p:grpSpPr>
          <a:xfrm>
            <a:off x="2835529" y="2814055"/>
            <a:ext cx="1266766" cy="387557"/>
            <a:chOff x="6418304" y="1924127"/>
            <a:chExt cx="1266766" cy="387557"/>
          </a:xfrm>
        </p:grpSpPr>
        <p:sp>
          <p:nvSpPr>
            <p:cNvPr id="77" name="Text Box 115">
              <a:extLst>
                <a:ext uri="{FF2B5EF4-FFF2-40B4-BE49-F238E27FC236}">
                  <a16:creationId xmlns:a16="http://schemas.microsoft.com/office/drawing/2014/main" id="{3B376880-C606-FD4E-9708-16157231EF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87" name="Google Shape;61;p12">
              <a:extLst>
                <a:ext uri="{FF2B5EF4-FFF2-40B4-BE49-F238E27FC236}">
                  <a16:creationId xmlns:a16="http://schemas.microsoft.com/office/drawing/2014/main" id="{BB3AD206-CBBA-0342-89FD-7CF7EEEE6556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Impala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D5F8A6E-940A-0C42-8D41-1C149FA28A27}"/>
              </a:ext>
            </a:extLst>
          </p:cNvPr>
          <p:cNvGrpSpPr/>
          <p:nvPr/>
        </p:nvGrpSpPr>
        <p:grpSpPr>
          <a:xfrm>
            <a:off x="5308055" y="3030113"/>
            <a:ext cx="1266766" cy="387557"/>
            <a:chOff x="6418304" y="1924127"/>
            <a:chExt cx="1266766" cy="387557"/>
          </a:xfrm>
        </p:grpSpPr>
        <p:sp>
          <p:nvSpPr>
            <p:cNvPr id="96" name="Text Box 115">
              <a:extLst>
                <a:ext uri="{FF2B5EF4-FFF2-40B4-BE49-F238E27FC236}">
                  <a16:creationId xmlns:a16="http://schemas.microsoft.com/office/drawing/2014/main" id="{252054EC-2427-F642-83B5-722EA0750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7" name="Google Shape;61;p12">
              <a:extLst>
                <a:ext uri="{FF2B5EF4-FFF2-40B4-BE49-F238E27FC236}">
                  <a16:creationId xmlns:a16="http://schemas.microsoft.com/office/drawing/2014/main" id="{CFC041A3-700F-A54A-AF48-931538877391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Base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C03EEB8-7529-0F45-B8D8-3E0505B50A53}"/>
              </a:ext>
            </a:extLst>
          </p:cNvPr>
          <p:cNvGrpSpPr/>
          <p:nvPr/>
        </p:nvGrpSpPr>
        <p:grpSpPr>
          <a:xfrm>
            <a:off x="7442867" y="3030112"/>
            <a:ext cx="1266766" cy="387557"/>
            <a:chOff x="6418304" y="1924127"/>
            <a:chExt cx="1266766" cy="387557"/>
          </a:xfrm>
        </p:grpSpPr>
        <p:sp>
          <p:nvSpPr>
            <p:cNvPr id="99" name="Text Box 115">
              <a:extLst>
                <a:ext uri="{FF2B5EF4-FFF2-40B4-BE49-F238E27FC236}">
                  <a16:creationId xmlns:a16="http://schemas.microsoft.com/office/drawing/2014/main" id="{84C22899-BFDF-9A42-B5A9-E10C01E356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00" name="Google Shape;61;p12">
              <a:extLst>
                <a:ext uri="{FF2B5EF4-FFF2-40B4-BE49-F238E27FC236}">
                  <a16:creationId xmlns:a16="http://schemas.microsoft.com/office/drawing/2014/main" id="{98F81174-ADA6-CF4B-A0D9-8449A2A7ACE5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Solr</a:t>
              </a:r>
              <a:endParaRPr lang="en-US" sz="1100" dirty="0">
                <a:solidFill>
                  <a:schemeClr val="bg1">
                    <a:lumMod val="9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B83B0D5-5F18-D946-8FF6-4A9536935497}"/>
              </a:ext>
            </a:extLst>
          </p:cNvPr>
          <p:cNvGrpSpPr/>
          <p:nvPr/>
        </p:nvGrpSpPr>
        <p:grpSpPr>
          <a:xfrm>
            <a:off x="2835529" y="3339180"/>
            <a:ext cx="1266766" cy="387557"/>
            <a:chOff x="6418304" y="1924127"/>
            <a:chExt cx="1266766" cy="387557"/>
          </a:xfrm>
        </p:grpSpPr>
        <p:sp>
          <p:nvSpPr>
            <p:cNvPr id="124" name="Text Box 115">
              <a:extLst>
                <a:ext uri="{FF2B5EF4-FFF2-40B4-BE49-F238E27FC236}">
                  <a16:creationId xmlns:a16="http://schemas.microsoft.com/office/drawing/2014/main" id="{6565D9DC-CD18-524D-B2DA-E21422B0B3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8304" y="1924127"/>
              <a:ext cx="1266766" cy="387557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125" name="Google Shape;61;p12">
              <a:extLst>
                <a:ext uri="{FF2B5EF4-FFF2-40B4-BE49-F238E27FC236}">
                  <a16:creationId xmlns:a16="http://schemas.microsoft.com/office/drawing/2014/main" id="{BF5B3463-0FC2-8541-8087-76CF0D4E732D}"/>
                </a:ext>
              </a:extLst>
            </p:cNvPr>
            <p:cNvSpPr txBox="1">
              <a:spLocks/>
            </p:cNvSpPr>
            <p:nvPr/>
          </p:nvSpPr>
          <p:spPr>
            <a:xfrm>
              <a:off x="6707261" y="1980341"/>
              <a:ext cx="688851" cy="275128"/>
            </a:xfrm>
            <a:prstGeom prst="rect">
              <a:avLst/>
            </a:prstGeom>
          </p:spPr>
          <p:txBody>
            <a:bodyPr spcFirstLastPara="1" vert="horz" wrap="square" lIns="91425" tIns="91425" rIns="91425" bIns="91425" rtlCol="0" anchor="ctr" anchorCtr="0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Bef>
                  <a:spcPts val="0"/>
                </a:spcBef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effectLst>
                    <a:outerShdw blurRad="50800" dist="50800" dir="5400000" algn="ctr" rotWithShape="0">
                      <a:srgbClr val="000000">
                        <a:alpha val="0"/>
                      </a:srgbClr>
                    </a:outerShdw>
                    <a:reflection endPos="0" dist="50800" dir="5400000" sy="-100000" algn="bl" rotWithShape="0"/>
                  </a:effectLst>
                  <a:latin typeface="Comic Sans MS" panose="030F0902030302020204" pitchFamily="66" charset="0"/>
                  <a:ea typeface="Nanum Pen Script" panose="03040600000000000000" pitchFamily="66" charset="-127"/>
                  <a:cs typeface="Arial" panose="020B0604020202020204" pitchFamily="34" charset="0"/>
                </a:rPr>
                <a:t>Hive</a:t>
              </a:r>
            </a:p>
          </p:txBody>
        </p:sp>
      </p:grp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9522A19-B6D3-A64C-9617-BF52253E5BE8}"/>
              </a:ext>
            </a:extLst>
          </p:cNvPr>
          <p:cNvCxnSpPr>
            <a:endCxn id="77" idx="3"/>
          </p:cNvCxnSpPr>
          <p:nvPr/>
        </p:nvCxnSpPr>
        <p:spPr>
          <a:xfrm rot="10800000">
            <a:off x="4102295" y="3007834"/>
            <a:ext cx="1154390" cy="216056"/>
          </a:xfrm>
          <a:prstGeom prst="bentConnector3">
            <a:avLst>
              <a:gd name="adj1" fmla="val 411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>
            <a:extLst>
              <a:ext uri="{FF2B5EF4-FFF2-40B4-BE49-F238E27FC236}">
                <a16:creationId xmlns:a16="http://schemas.microsoft.com/office/drawing/2014/main" id="{C8824B78-C0E8-084E-B678-36D594339AB4}"/>
              </a:ext>
            </a:extLst>
          </p:cNvPr>
          <p:cNvCxnSpPr>
            <a:cxnSpLocks/>
            <a:stCxn id="96" idx="1"/>
            <a:endCxn id="124" idx="3"/>
          </p:cNvCxnSpPr>
          <p:nvPr/>
        </p:nvCxnSpPr>
        <p:spPr>
          <a:xfrm rot="10800000" flipV="1">
            <a:off x="4102295" y="3223891"/>
            <a:ext cx="1205760" cy="309067"/>
          </a:xfrm>
          <a:prstGeom prst="bentConnector3">
            <a:avLst>
              <a:gd name="adj1" fmla="val 44035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27">
            <a:extLst>
              <a:ext uri="{FF2B5EF4-FFF2-40B4-BE49-F238E27FC236}">
                <a16:creationId xmlns:a16="http://schemas.microsoft.com/office/drawing/2014/main" id="{90D11C4A-3291-994A-92AA-C3F27FE47CDC}"/>
              </a:ext>
            </a:extLst>
          </p:cNvPr>
          <p:cNvCxnSpPr>
            <a:cxnSpLocks/>
            <a:stCxn id="96" idx="3"/>
            <a:endCxn id="99" idx="1"/>
          </p:cNvCxnSpPr>
          <p:nvPr/>
        </p:nvCxnSpPr>
        <p:spPr>
          <a:xfrm flipV="1">
            <a:off x="6574821" y="3223891"/>
            <a:ext cx="868046" cy="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Google Shape;61;p12">
            <a:extLst>
              <a:ext uri="{FF2B5EF4-FFF2-40B4-BE49-F238E27FC236}">
                <a16:creationId xmlns:a16="http://schemas.microsoft.com/office/drawing/2014/main" id="{1E8294C9-7055-8043-BB99-394CFF1AF10E}"/>
              </a:ext>
            </a:extLst>
          </p:cNvPr>
          <p:cNvSpPr txBox="1">
            <a:spLocks/>
          </p:cNvSpPr>
          <p:nvPr/>
        </p:nvSpPr>
        <p:spPr>
          <a:xfrm>
            <a:off x="6457735" y="2747412"/>
            <a:ext cx="985132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index</a:t>
            </a:r>
          </a:p>
        </p:txBody>
      </p:sp>
      <p:sp>
        <p:nvSpPr>
          <p:cNvPr id="130" name="Google Shape;61;p12">
            <a:extLst>
              <a:ext uri="{FF2B5EF4-FFF2-40B4-BE49-F238E27FC236}">
                <a16:creationId xmlns:a16="http://schemas.microsoft.com/office/drawing/2014/main" id="{5D20FC41-1AE1-2E4D-AE36-72ACBEA41C3B}"/>
              </a:ext>
            </a:extLst>
          </p:cNvPr>
          <p:cNvSpPr txBox="1">
            <a:spLocks/>
          </p:cNvSpPr>
          <p:nvPr/>
        </p:nvSpPr>
        <p:spPr>
          <a:xfrm>
            <a:off x="4608341" y="2736217"/>
            <a:ext cx="896977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MapReduce job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5818FF4-27A8-8E48-8D30-A88EDFE1BDC3}"/>
              </a:ext>
            </a:extLst>
          </p:cNvPr>
          <p:cNvSpPr/>
          <p:nvPr/>
        </p:nvSpPr>
        <p:spPr>
          <a:xfrm>
            <a:off x="9377707" y="3769636"/>
            <a:ext cx="1578734" cy="86352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Text Box 115">
            <a:extLst>
              <a:ext uri="{FF2B5EF4-FFF2-40B4-BE49-F238E27FC236}">
                <a16:creationId xmlns:a16="http://schemas.microsoft.com/office/drawing/2014/main" id="{D25FE3A4-0E5B-F04C-A243-D5F137BA6F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4360" y="3940778"/>
            <a:ext cx="1301839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Event Hub</a:t>
            </a:r>
          </a:p>
        </p:txBody>
      </p:sp>
      <p:cxnSp>
        <p:nvCxnSpPr>
          <p:cNvPr id="159" name="Elbow Connector 158">
            <a:extLst>
              <a:ext uri="{FF2B5EF4-FFF2-40B4-BE49-F238E27FC236}">
                <a16:creationId xmlns:a16="http://schemas.microsoft.com/office/drawing/2014/main" id="{050F97A9-14F0-F04F-93D6-A0421B741B3A}"/>
              </a:ext>
            </a:extLst>
          </p:cNvPr>
          <p:cNvCxnSpPr>
            <a:cxnSpLocks/>
            <a:stCxn id="156" idx="1"/>
            <a:endCxn id="107" idx="3"/>
          </p:cNvCxnSpPr>
          <p:nvPr/>
        </p:nvCxnSpPr>
        <p:spPr>
          <a:xfrm rot="10800000" flipV="1">
            <a:off x="4980728" y="4188649"/>
            <a:ext cx="4533633" cy="1568653"/>
          </a:xfrm>
          <a:prstGeom prst="bentConnector3">
            <a:avLst>
              <a:gd name="adj1" fmla="val 36176"/>
            </a:avLst>
          </a:prstGeom>
          <a:ln>
            <a:solidFill>
              <a:srgbClr val="80808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D4D6B444-77F7-6049-A76C-EC8F4B9EE614}"/>
              </a:ext>
            </a:extLst>
          </p:cNvPr>
          <p:cNvGrpSpPr/>
          <p:nvPr/>
        </p:nvGrpSpPr>
        <p:grpSpPr>
          <a:xfrm rot="19530673">
            <a:off x="5029488" y="5053419"/>
            <a:ext cx="301686" cy="265870"/>
            <a:chOff x="720866" y="1199338"/>
            <a:chExt cx="301686" cy="265870"/>
          </a:xfrm>
        </p:grpSpPr>
        <p:sp>
          <p:nvSpPr>
            <p:cNvPr id="167" name="Google Shape;431;p39">
              <a:extLst>
                <a:ext uri="{FF2B5EF4-FFF2-40B4-BE49-F238E27FC236}">
                  <a16:creationId xmlns:a16="http://schemas.microsoft.com/office/drawing/2014/main" id="{605610EC-95ED-FA47-8C22-356E642A6F5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92A1BCB1-3AEE-2645-900C-DC625EED2CCC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1</a:t>
              </a: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982F90DE-8B0A-C048-9B55-481BFBE1560E}"/>
              </a:ext>
            </a:extLst>
          </p:cNvPr>
          <p:cNvGrpSpPr/>
          <p:nvPr/>
        </p:nvGrpSpPr>
        <p:grpSpPr>
          <a:xfrm rot="19530673">
            <a:off x="4416992" y="3112027"/>
            <a:ext cx="301686" cy="265870"/>
            <a:chOff x="720866" y="1199338"/>
            <a:chExt cx="301686" cy="265870"/>
          </a:xfrm>
        </p:grpSpPr>
        <p:sp>
          <p:nvSpPr>
            <p:cNvPr id="170" name="Google Shape;431;p39">
              <a:extLst>
                <a:ext uri="{FF2B5EF4-FFF2-40B4-BE49-F238E27FC236}">
                  <a16:creationId xmlns:a16="http://schemas.microsoft.com/office/drawing/2014/main" id="{F8FADFF7-993A-6648-ABFB-7AB058C0754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32F430DF-58DB-7F49-A6F7-C8CD27B06AA0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3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6E25734F-0411-8443-AC4A-D1F4EBE65F1B}"/>
              </a:ext>
            </a:extLst>
          </p:cNvPr>
          <p:cNvGrpSpPr/>
          <p:nvPr/>
        </p:nvGrpSpPr>
        <p:grpSpPr>
          <a:xfrm rot="19530673">
            <a:off x="3774335" y="4560594"/>
            <a:ext cx="301686" cy="265870"/>
            <a:chOff x="720866" y="1199338"/>
            <a:chExt cx="301686" cy="265870"/>
          </a:xfrm>
        </p:grpSpPr>
        <p:sp>
          <p:nvSpPr>
            <p:cNvPr id="191" name="Google Shape;431;p39">
              <a:extLst>
                <a:ext uri="{FF2B5EF4-FFF2-40B4-BE49-F238E27FC236}">
                  <a16:creationId xmlns:a16="http://schemas.microsoft.com/office/drawing/2014/main" id="{0CDD4076-FB82-5947-9CB7-B81E559CE51F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9913E79-2D3D-0146-BE96-17D569C19A7F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2</a:t>
              </a:r>
            </a:p>
          </p:txBody>
        </p:sp>
      </p:grpSp>
      <p:sp>
        <p:nvSpPr>
          <p:cNvPr id="193" name="Rectangle 192">
            <a:extLst>
              <a:ext uri="{FF2B5EF4-FFF2-40B4-BE49-F238E27FC236}">
                <a16:creationId xmlns:a16="http://schemas.microsoft.com/office/drawing/2014/main" id="{37880FCD-F45B-6647-8D10-BD8E03D027B0}"/>
              </a:ext>
            </a:extLst>
          </p:cNvPr>
          <p:cNvSpPr/>
          <p:nvPr/>
        </p:nvSpPr>
        <p:spPr>
          <a:xfrm>
            <a:off x="7391221" y="2977012"/>
            <a:ext cx="1379741" cy="482582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80A012AE-81FC-0D4A-8640-4BD176401106}"/>
              </a:ext>
            </a:extLst>
          </p:cNvPr>
          <p:cNvSpPr/>
          <p:nvPr/>
        </p:nvSpPr>
        <p:spPr>
          <a:xfrm>
            <a:off x="2767138" y="2747412"/>
            <a:ext cx="1410624" cy="528664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Google Shape;61;p12">
            <a:extLst>
              <a:ext uri="{FF2B5EF4-FFF2-40B4-BE49-F238E27FC236}">
                <a16:creationId xmlns:a16="http://schemas.microsoft.com/office/drawing/2014/main" id="{7FE623DD-B01C-E145-82A5-004F9BEF740F}"/>
              </a:ext>
            </a:extLst>
          </p:cNvPr>
          <p:cNvSpPr txBox="1">
            <a:spLocks/>
          </p:cNvSpPr>
          <p:nvPr/>
        </p:nvSpPr>
        <p:spPr>
          <a:xfrm>
            <a:off x="2339904" y="4727416"/>
            <a:ext cx="2010893" cy="47546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Data is load into deferens engine</a:t>
            </a:r>
          </a:p>
        </p:txBody>
      </p:sp>
      <p:sp>
        <p:nvSpPr>
          <p:cNvPr id="195" name="Google Shape;61;p12">
            <a:extLst>
              <a:ext uri="{FF2B5EF4-FFF2-40B4-BE49-F238E27FC236}">
                <a16:creationId xmlns:a16="http://schemas.microsoft.com/office/drawing/2014/main" id="{8201BBEE-1ABF-2940-90BA-C2268E53EC67}"/>
              </a:ext>
            </a:extLst>
          </p:cNvPr>
          <p:cNvSpPr txBox="1">
            <a:spLocks/>
          </p:cNvSpPr>
          <p:nvPr/>
        </p:nvSpPr>
        <p:spPr>
          <a:xfrm>
            <a:off x="9213733" y="3726737"/>
            <a:ext cx="839351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urce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17E7B101-BC89-9948-A1F5-7B47986511B3}"/>
              </a:ext>
            </a:extLst>
          </p:cNvPr>
          <p:cNvSpPr/>
          <p:nvPr/>
        </p:nvSpPr>
        <p:spPr>
          <a:xfrm>
            <a:off x="1479069" y="1143814"/>
            <a:ext cx="2010893" cy="882058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Text Box 115">
            <a:extLst>
              <a:ext uri="{FF2B5EF4-FFF2-40B4-BE49-F238E27FC236}">
                <a16:creationId xmlns:a16="http://schemas.microsoft.com/office/drawing/2014/main" id="{73FEB6F4-1985-2446-B6DD-E5E34A16C3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8079" y="1386874"/>
            <a:ext cx="1722134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Data Visualization Tools</a:t>
            </a:r>
          </a:p>
        </p:txBody>
      </p:sp>
      <p:sp>
        <p:nvSpPr>
          <p:cNvPr id="200" name="Google Shape;61;p12">
            <a:extLst>
              <a:ext uri="{FF2B5EF4-FFF2-40B4-BE49-F238E27FC236}">
                <a16:creationId xmlns:a16="http://schemas.microsoft.com/office/drawing/2014/main" id="{302009A1-C454-6847-89A5-CBA0DD6D7B95}"/>
              </a:ext>
            </a:extLst>
          </p:cNvPr>
          <p:cNvSpPr txBox="1">
            <a:spLocks/>
          </p:cNvSpPr>
          <p:nvPr/>
        </p:nvSpPr>
        <p:spPr>
          <a:xfrm>
            <a:off x="1459275" y="1121514"/>
            <a:ext cx="1158362" cy="27512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erving layer</a:t>
            </a:r>
          </a:p>
        </p:txBody>
      </p:sp>
      <p:cxnSp>
        <p:nvCxnSpPr>
          <p:cNvPr id="211" name="Elbow Connector 210">
            <a:extLst>
              <a:ext uri="{FF2B5EF4-FFF2-40B4-BE49-F238E27FC236}">
                <a16:creationId xmlns:a16="http://schemas.microsoft.com/office/drawing/2014/main" id="{946E7CE7-EE6D-7648-92F0-98C706456EE9}"/>
              </a:ext>
            </a:extLst>
          </p:cNvPr>
          <p:cNvCxnSpPr>
            <a:cxnSpLocks/>
            <a:stCxn id="124" idx="1"/>
            <a:endCxn id="199" idx="2"/>
          </p:cNvCxnSpPr>
          <p:nvPr/>
        </p:nvCxnSpPr>
        <p:spPr>
          <a:xfrm rot="10800000">
            <a:off x="2479147" y="1882619"/>
            <a:ext cx="356383" cy="1650341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Elbow Connector 214">
            <a:extLst>
              <a:ext uri="{FF2B5EF4-FFF2-40B4-BE49-F238E27FC236}">
                <a16:creationId xmlns:a16="http://schemas.microsoft.com/office/drawing/2014/main" id="{5E46A883-8DE3-F449-99F8-3AD0715C5C81}"/>
              </a:ext>
            </a:extLst>
          </p:cNvPr>
          <p:cNvCxnSpPr>
            <a:cxnSpLocks/>
            <a:stCxn id="194" idx="1"/>
            <a:endCxn id="199" idx="2"/>
          </p:cNvCxnSpPr>
          <p:nvPr/>
        </p:nvCxnSpPr>
        <p:spPr>
          <a:xfrm rot="10800000">
            <a:off x="2479146" y="1882618"/>
            <a:ext cx="287992" cy="1129126"/>
          </a:xfrm>
          <a:prstGeom prst="bentConnector2">
            <a:avLst/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2F5EB25-D492-E949-BAD9-2E84BA4C0BF4}"/>
              </a:ext>
            </a:extLst>
          </p:cNvPr>
          <p:cNvGrpSpPr/>
          <p:nvPr/>
        </p:nvGrpSpPr>
        <p:grpSpPr>
          <a:xfrm>
            <a:off x="10089781" y="324263"/>
            <a:ext cx="1569747" cy="398276"/>
            <a:chOff x="10089781" y="324263"/>
            <a:chExt cx="1569747" cy="398276"/>
          </a:xfrm>
        </p:grpSpPr>
        <p:sp>
          <p:nvSpPr>
            <p:cNvPr id="7" name="Text Box 115">
              <a:extLst>
                <a:ext uri="{FF2B5EF4-FFF2-40B4-BE49-F238E27FC236}">
                  <a16:creationId xmlns:a16="http://schemas.microsoft.com/office/drawing/2014/main" id="{E0222F90-406D-184C-A846-B36F0C79D7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6708" y="395611"/>
              <a:ext cx="501650" cy="88900"/>
            </a:xfrm>
            <a:prstGeom prst="rect">
              <a:avLst/>
            </a:prstGeom>
            <a:solidFill>
              <a:srgbClr val="C5277F">
                <a:alpha val="50000"/>
              </a:srgbClr>
            </a:solidFill>
            <a:ln w="12700">
              <a:solidFill>
                <a:srgbClr val="7C1A4D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600" b="1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9" name="Text Box 118">
              <a:extLst>
                <a:ext uri="{FF2B5EF4-FFF2-40B4-BE49-F238E27FC236}">
                  <a16:creationId xmlns:a16="http://schemas.microsoft.com/office/drawing/2014/main" id="{B27AC165-25C0-3844-BF5B-7DEACEDE8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37481" y="324263"/>
              <a:ext cx="92204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None/>
                <a:defRPr sz="900" b="0"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s-ES" altLang="pt-BR" dirty="0" err="1"/>
                <a:t>Second</a:t>
              </a:r>
              <a:r>
                <a:rPr lang="es-ES" altLang="pt-BR" dirty="0"/>
                <a:t> </a:t>
              </a:r>
              <a:r>
                <a:rPr lang="es-ES" altLang="pt-BR" dirty="0" err="1"/>
                <a:t>stage</a:t>
              </a:r>
              <a:r>
                <a:rPr lang="es-ES" altLang="pt-BR" dirty="0"/>
                <a:t> </a:t>
              </a:r>
            </a:p>
          </p:txBody>
        </p:sp>
        <p:sp>
          <p:nvSpPr>
            <p:cNvPr id="10" name="Rectangle 119">
              <a:extLst>
                <a:ext uri="{FF2B5EF4-FFF2-40B4-BE49-F238E27FC236}">
                  <a16:creationId xmlns:a16="http://schemas.microsoft.com/office/drawing/2014/main" id="{7F20A950-BA5D-E742-9E7D-45DB7EED0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9781" y="324263"/>
              <a:ext cx="1569747" cy="39827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accent2"/>
                </a:buClr>
                <a:buFont typeface="Wingdings" pitchFamily="2" charset="2"/>
                <a:buNone/>
              </a:pPr>
              <a:endParaRPr lang="pt-BR" altLang="pt-BR" b="0">
                <a:solidFill>
                  <a:schemeClr val="tx1"/>
                </a:solidFill>
              </a:endParaRPr>
            </a:p>
          </p:txBody>
        </p:sp>
        <p:sp>
          <p:nvSpPr>
            <p:cNvPr id="61" name="Text Box 115">
              <a:extLst>
                <a:ext uri="{FF2B5EF4-FFF2-40B4-BE49-F238E27FC236}">
                  <a16:creationId xmlns:a16="http://schemas.microsoft.com/office/drawing/2014/main" id="{E74167D8-B6BA-2C4E-9822-B5DB704AE0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9435" y="562672"/>
              <a:ext cx="509197" cy="88901"/>
            </a:xfrm>
            <a:prstGeom prst="rect">
              <a:avLst/>
            </a:prstGeom>
            <a:solidFill>
              <a:srgbClr val="0067B7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08000" tIns="0" rIns="108000" bIns="0" anchor="ctr"/>
            <a:lstStyle>
              <a:lvl1pPr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spcBef>
                  <a:spcPct val="20000"/>
                </a:spcBef>
                <a:buClr>
                  <a:schemeClr val="accent2"/>
                </a:buClr>
                <a:buSzPct val="130000"/>
                <a:buFont typeface="Wingdings" panose="05000000000000000000" pitchFamily="2" charset="2"/>
                <a:buNone/>
                <a:defRPr/>
              </a:pPr>
              <a:endParaRPr lang="en-GB" altLang="pt-BR" sz="100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endParaRPr>
            </a:p>
          </p:txBody>
        </p:sp>
        <p:sp>
          <p:nvSpPr>
            <p:cNvPr id="62" name="Text Box 118">
              <a:extLst>
                <a:ext uri="{FF2B5EF4-FFF2-40B4-BE49-F238E27FC236}">
                  <a16:creationId xmlns:a16="http://schemas.microsoft.com/office/drawing/2014/main" id="{CEAE94F0-D301-3341-9ECF-6D65B33680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742330" y="491706"/>
              <a:ext cx="75533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0000"/>
                </a:buClr>
                <a:buFont typeface="Wingdings" pitchFamily="2" charset="2"/>
                <a:buChar char="w"/>
                <a:defRPr sz="2400" b="1">
                  <a:solidFill>
                    <a:srgbClr val="FF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defRPr sz="2600">
                  <a:solidFill>
                    <a:srgbClr val="80808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Clr>
                  <a:schemeClr val="accent2"/>
                </a:buClr>
                <a:buNone/>
              </a:pPr>
              <a:r>
                <a:rPr lang="en-US" sz="900" b="0" dirty="0">
                  <a:solidFill>
                    <a:schemeClr val="tx1"/>
                  </a:solidFill>
                  <a:cs typeface="Arial" panose="020B0604020202020204" pitchFamily="34" charset="0"/>
                </a:rPr>
                <a:t>First phase</a:t>
              </a:r>
              <a:endParaRPr lang="es-ES" altLang="pt-BR" sz="900" b="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6" name="Google Shape;61;p12">
            <a:extLst>
              <a:ext uri="{FF2B5EF4-FFF2-40B4-BE49-F238E27FC236}">
                <a16:creationId xmlns:a16="http://schemas.microsoft.com/office/drawing/2014/main" id="{D859ED0E-F5DE-A342-8705-E7AA308EECBF}"/>
              </a:ext>
            </a:extLst>
          </p:cNvPr>
          <p:cNvSpPr txBox="1">
            <a:spLocks/>
          </p:cNvSpPr>
          <p:nvPr/>
        </p:nvSpPr>
        <p:spPr>
          <a:xfrm>
            <a:off x="2417519" y="3912008"/>
            <a:ext cx="1748282" cy="65607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fter the data is loaded into the HBase tables, they are propagated to two other service engines. The first service engine is Hive, the second is Impala and the second </a:t>
            </a:r>
            <a:r>
              <a:rPr lang="en-US" sz="800" dirty="0" err="1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Solr</a:t>
            </a: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 in a second stage.</a:t>
            </a:r>
          </a:p>
        </p:txBody>
      </p:sp>
      <p:sp>
        <p:nvSpPr>
          <p:cNvPr id="67" name="Google Shape;61;p12">
            <a:extLst>
              <a:ext uri="{FF2B5EF4-FFF2-40B4-BE49-F238E27FC236}">
                <a16:creationId xmlns:a16="http://schemas.microsoft.com/office/drawing/2014/main" id="{4FA54DEF-E59C-D34B-B07C-AFB16249E2EE}"/>
              </a:ext>
            </a:extLst>
          </p:cNvPr>
          <p:cNvSpPr txBox="1">
            <a:spLocks/>
          </p:cNvSpPr>
          <p:nvPr/>
        </p:nvSpPr>
        <p:spPr>
          <a:xfrm>
            <a:off x="6758393" y="1254858"/>
            <a:ext cx="2109883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The HBase Indexer provides the ability to stream events from HBase to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Solr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for near real time searching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sp>
        <p:nvSpPr>
          <p:cNvPr id="69" name="Google Shape;61;p12">
            <a:extLst>
              <a:ext uri="{FF2B5EF4-FFF2-40B4-BE49-F238E27FC236}">
                <a16:creationId xmlns:a16="http://schemas.microsoft.com/office/drawing/2014/main" id="{90C1476B-5CCA-4C4C-804D-EC8CDDDE5903}"/>
              </a:ext>
            </a:extLst>
          </p:cNvPr>
          <p:cNvSpPr txBox="1">
            <a:spLocks/>
          </p:cNvSpPr>
          <p:nvPr/>
        </p:nvSpPr>
        <p:spPr>
          <a:xfrm>
            <a:off x="3647124" y="1264622"/>
            <a:ext cx="2672929" cy="88205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You can use Impala to query HBase tables. This capability allows convenient access to a storage system that is tuned for different kinds of workloads than the default with. Impala, however, </a:t>
            </a:r>
            <a:r>
              <a:rPr lang="en-US" sz="900" dirty="0" err="1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PoC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  <a:latin typeface="Comic Sans MS" panose="030F0902030302020204" pitchFamily="66" charset="0"/>
              </a:rPr>
              <a:t> is </a:t>
            </a:r>
            <a:r>
              <a:rPr lang="en-US" sz="900" dirty="0">
                <a:solidFill>
                  <a:srgbClr val="C5277F">
                    <a:alpha val="30000"/>
                  </a:srgbClr>
                </a:solidFill>
              </a:rPr>
              <a:t>required.</a:t>
            </a:r>
            <a:endParaRPr lang="en-US" sz="900" dirty="0">
              <a:solidFill>
                <a:srgbClr val="C5277F">
                  <a:alpha val="30000"/>
                </a:srgbClr>
              </a:solidFill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endPos="0" dist="50800" dir="5400000" sy="-100000" algn="bl" rotWithShape="0"/>
              </a:effectLst>
              <a:latin typeface="Comic Sans MS" panose="030F0902030302020204" pitchFamily="66" charset="0"/>
              <a:ea typeface="Nanum Pen Script" panose="03040600000000000000" pitchFamily="66" charset="-127"/>
              <a:cs typeface="Arial" panose="020B0604020202020204" pitchFamily="34" charset="0"/>
            </a:endParaRP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D6D4B221-E4A8-FD45-9BCC-ECF7DC12A9E3}"/>
              </a:ext>
            </a:extLst>
          </p:cNvPr>
          <p:cNvCxnSpPr>
            <a:cxnSpLocks/>
            <a:stCxn id="69" idx="2"/>
            <a:endCxn id="194" idx="0"/>
          </p:cNvCxnSpPr>
          <p:nvPr/>
        </p:nvCxnSpPr>
        <p:spPr>
          <a:xfrm rot="5400000">
            <a:off x="3927654" y="1691477"/>
            <a:ext cx="600732" cy="1511139"/>
          </a:xfrm>
          <a:prstGeom prst="bentConnector3">
            <a:avLst>
              <a:gd name="adj1" fmla="val 65392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>
            <a:extLst>
              <a:ext uri="{FF2B5EF4-FFF2-40B4-BE49-F238E27FC236}">
                <a16:creationId xmlns:a16="http://schemas.microsoft.com/office/drawing/2014/main" id="{CBEEE766-8440-7045-84AF-F96D9706840E}"/>
              </a:ext>
            </a:extLst>
          </p:cNvPr>
          <p:cNvCxnSpPr>
            <a:cxnSpLocks/>
            <a:stCxn id="67" idx="2"/>
            <a:endCxn id="193" idx="0"/>
          </p:cNvCxnSpPr>
          <p:nvPr/>
        </p:nvCxnSpPr>
        <p:spPr>
          <a:xfrm rot="16200000" flipH="1">
            <a:off x="7527165" y="2423085"/>
            <a:ext cx="840096" cy="267757"/>
          </a:xfrm>
          <a:prstGeom prst="bentConnector3">
            <a:avLst>
              <a:gd name="adj1" fmla="val 50000"/>
            </a:avLst>
          </a:prstGeom>
          <a:ln>
            <a:solidFill>
              <a:srgbClr val="C5277F">
                <a:alpha val="42000"/>
              </a:srgb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Google Shape;61;p12">
            <a:extLst>
              <a:ext uri="{FF2B5EF4-FFF2-40B4-BE49-F238E27FC236}">
                <a16:creationId xmlns:a16="http://schemas.microsoft.com/office/drawing/2014/main" id="{E78FC96D-6A73-2843-8AAF-1249D23862B1}"/>
              </a:ext>
            </a:extLst>
          </p:cNvPr>
          <p:cNvSpPr txBox="1">
            <a:spLocks/>
          </p:cNvSpPr>
          <p:nvPr/>
        </p:nvSpPr>
        <p:spPr>
          <a:xfrm>
            <a:off x="5476176" y="5110556"/>
            <a:ext cx="1704839" cy="63513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800" dirty="0">
                <a:solidFill>
                  <a:srgbClr val="C5277F"/>
                </a:solidFill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  <a:reflection endPos="0" dist="50800" dir="5400000" sy="-100000" algn="bl" rotWithShape="0"/>
                </a:effectLst>
                <a:latin typeface="Comic Sans MS" panose="030F0902030302020204" pitchFamily="66" charset="0"/>
                <a:ea typeface="Nanum Pen Script" panose="03040600000000000000" pitchFamily="66" charset="-127"/>
                <a:cs typeface="Arial" panose="020B0604020202020204" pitchFamily="34" charset="0"/>
              </a:rPr>
              <a:t>A series of transformations are performed to join the relevant data sets. Most of these unions are made based on a primary key in the data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80FB4CD-E7D4-4A47-86A1-C19938573A5C}"/>
              </a:ext>
            </a:extLst>
          </p:cNvPr>
          <p:cNvSpPr/>
          <p:nvPr/>
        </p:nvSpPr>
        <p:spPr>
          <a:xfrm>
            <a:off x="3202877" y="5343095"/>
            <a:ext cx="1916014" cy="80519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Text Box 115">
            <a:extLst>
              <a:ext uri="{FF2B5EF4-FFF2-40B4-BE49-F238E27FC236}">
                <a16:creationId xmlns:a16="http://schemas.microsoft.com/office/drawing/2014/main" id="{359DB353-7A9E-EA48-8F86-C6D81ED4C9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6121" y="5514237"/>
            <a:ext cx="1556345" cy="495744"/>
          </a:xfrm>
          <a:prstGeom prst="rect">
            <a:avLst/>
          </a:prstGeom>
          <a:solidFill>
            <a:srgbClr val="0067B7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108000" tIns="0" rIns="108000" bIns="0" anchor="ctr"/>
          <a:lstStyle>
            <a:lvl1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Near Real Time Event </a:t>
            </a:r>
          </a:p>
          <a:p>
            <a:pPr algn="ctr">
              <a:spcBef>
                <a:spcPct val="20000"/>
              </a:spcBef>
              <a:buClr>
                <a:schemeClr val="accent2"/>
              </a:buClr>
              <a:buSzPct val="130000"/>
              <a:buFont typeface="Wingdings" panose="05000000000000000000" pitchFamily="2" charset="2"/>
              <a:buNone/>
              <a:defRPr/>
            </a:pPr>
            <a:r>
              <a:rPr lang="en-GB" altLang="pt-BR" sz="1050" b="1" dirty="0">
                <a:solidFill>
                  <a:schemeClr val="bg1"/>
                </a:solidFill>
                <a:latin typeface="Comic Sans MS" panose="030F0902030302020204" pitchFamily="66" charset="0"/>
                <a:cs typeface="+mn-cs"/>
              </a:rPr>
              <a:t>Processing Engin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2F70E09C-A5F7-1949-911E-E02A17F61C1A}"/>
              </a:ext>
            </a:extLst>
          </p:cNvPr>
          <p:cNvSpPr/>
          <p:nvPr/>
        </p:nvSpPr>
        <p:spPr>
          <a:xfrm>
            <a:off x="3286798" y="5414669"/>
            <a:ext cx="1693929" cy="685267"/>
          </a:xfrm>
          <a:prstGeom prst="rect">
            <a:avLst/>
          </a:prstGeom>
          <a:solidFill>
            <a:srgbClr val="C5277F">
              <a:alpha val="40000"/>
            </a:srgbClr>
          </a:solidFill>
          <a:ln w="9525">
            <a:solidFill>
              <a:srgbClr val="E2E2E2">
                <a:alpha val="41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002D7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84CEAAD5-8A8A-A447-BDFA-A19B0479D3ED}"/>
              </a:ext>
            </a:extLst>
          </p:cNvPr>
          <p:cNvCxnSpPr>
            <a:cxnSpLocks/>
            <a:stCxn id="96" idx="2"/>
          </p:cNvCxnSpPr>
          <p:nvPr/>
        </p:nvCxnSpPr>
        <p:spPr>
          <a:xfrm rot="5400000">
            <a:off x="4052902" y="3557926"/>
            <a:ext cx="2028792" cy="1748281"/>
          </a:xfrm>
          <a:prstGeom prst="bentConnector3">
            <a:avLst>
              <a:gd name="adj1" fmla="val 30250"/>
            </a:avLst>
          </a:prstGeom>
          <a:ln>
            <a:solidFill>
              <a:srgbClr val="8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77">
            <a:extLst>
              <a:ext uri="{FF2B5EF4-FFF2-40B4-BE49-F238E27FC236}">
                <a16:creationId xmlns:a16="http://schemas.microsoft.com/office/drawing/2014/main" id="{0A5AA5DE-8011-F843-9B89-E90172F7A599}"/>
              </a:ext>
            </a:extLst>
          </p:cNvPr>
          <p:cNvGrpSpPr/>
          <p:nvPr/>
        </p:nvGrpSpPr>
        <p:grpSpPr>
          <a:xfrm rot="19530673">
            <a:off x="1889534" y="2138372"/>
            <a:ext cx="301686" cy="265870"/>
            <a:chOff x="720866" y="1199338"/>
            <a:chExt cx="301686" cy="265870"/>
          </a:xfrm>
        </p:grpSpPr>
        <p:sp>
          <p:nvSpPr>
            <p:cNvPr id="79" name="Google Shape;431;p39">
              <a:extLst>
                <a:ext uri="{FF2B5EF4-FFF2-40B4-BE49-F238E27FC236}">
                  <a16:creationId xmlns:a16="http://schemas.microsoft.com/office/drawing/2014/main" id="{BE5584BD-8A56-0F4E-9249-EC75DF50571C}"/>
                </a:ext>
              </a:extLst>
            </p:cNvPr>
            <p:cNvSpPr/>
            <p:nvPr/>
          </p:nvSpPr>
          <p:spPr>
            <a:xfrm>
              <a:off x="720866" y="1203598"/>
              <a:ext cx="249532" cy="261610"/>
            </a:xfrm>
            <a:custGeom>
              <a:avLst/>
              <a:gdLst/>
              <a:ahLst/>
              <a:cxnLst/>
              <a:rect l="0" t="0" r="0" b="0"/>
              <a:pathLst>
                <a:path w="67641" h="69056" extrusionOk="0">
                  <a:moveTo>
                    <a:pt x="49622" y="2736"/>
                  </a:moveTo>
                  <a:lnTo>
                    <a:pt x="49622" y="2736"/>
                  </a:lnTo>
                  <a:lnTo>
                    <a:pt x="49622" y="2736"/>
                  </a:lnTo>
                  <a:close/>
                  <a:moveTo>
                    <a:pt x="59622" y="55565"/>
                  </a:moveTo>
                  <a:lnTo>
                    <a:pt x="59622" y="55565"/>
                  </a:lnTo>
                  <a:lnTo>
                    <a:pt x="59622" y="55565"/>
                  </a:lnTo>
                  <a:close/>
                  <a:moveTo>
                    <a:pt x="35471" y="0"/>
                  </a:moveTo>
                  <a:lnTo>
                    <a:pt x="34433" y="95"/>
                  </a:lnTo>
                  <a:lnTo>
                    <a:pt x="33584" y="189"/>
                  </a:lnTo>
                  <a:lnTo>
                    <a:pt x="32735" y="378"/>
                  </a:lnTo>
                  <a:lnTo>
                    <a:pt x="32169" y="566"/>
                  </a:lnTo>
                  <a:lnTo>
                    <a:pt x="31509" y="472"/>
                  </a:lnTo>
                  <a:lnTo>
                    <a:pt x="30754" y="472"/>
                  </a:lnTo>
                  <a:lnTo>
                    <a:pt x="29339" y="566"/>
                  </a:lnTo>
                  <a:lnTo>
                    <a:pt x="27830" y="849"/>
                  </a:lnTo>
                  <a:lnTo>
                    <a:pt x="26320" y="1321"/>
                  </a:lnTo>
                  <a:lnTo>
                    <a:pt x="24811" y="1981"/>
                  </a:lnTo>
                  <a:lnTo>
                    <a:pt x="23207" y="2736"/>
                  </a:lnTo>
                  <a:lnTo>
                    <a:pt x="21698" y="3585"/>
                  </a:lnTo>
                  <a:lnTo>
                    <a:pt x="20188" y="4623"/>
                  </a:lnTo>
                  <a:lnTo>
                    <a:pt x="18679" y="5661"/>
                  </a:lnTo>
                  <a:lnTo>
                    <a:pt x="17170" y="6793"/>
                  </a:lnTo>
                  <a:lnTo>
                    <a:pt x="15754" y="8019"/>
                  </a:lnTo>
                  <a:lnTo>
                    <a:pt x="14434" y="9151"/>
                  </a:lnTo>
                  <a:lnTo>
                    <a:pt x="11981" y="11510"/>
                  </a:lnTo>
                  <a:lnTo>
                    <a:pt x="10000" y="13774"/>
                  </a:lnTo>
                  <a:lnTo>
                    <a:pt x="7736" y="16981"/>
                  </a:lnTo>
                  <a:lnTo>
                    <a:pt x="8019" y="16321"/>
                  </a:lnTo>
                  <a:lnTo>
                    <a:pt x="8302" y="15660"/>
                  </a:lnTo>
                  <a:lnTo>
                    <a:pt x="7736" y="16604"/>
                  </a:lnTo>
                  <a:lnTo>
                    <a:pt x="7075" y="17642"/>
                  </a:lnTo>
                  <a:lnTo>
                    <a:pt x="7170" y="17830"/>
                  </a:lnTo>
                  <a:lnTo>
                    <a:pt x="6509" y="18868"/>
                  </a:lnTo>
                  <a:lnTo>
                    <a:pt x="7075" y="17359"/>
                  </a:lnTo>
                  <a:lnTo>
                    <a:pt x="6132" y="19057"/>
                  </a:lnTo>
                  <a:lnTo>
                    <a:pt x="5189" y="20849"/>
                  </a:lnTo>
                  <a:lnTo>
                    <a:pt x="4434" y="22736"/>
                  </a:lnTo>
                  <a:lnTo>
                    <a:pt x="3679" y="24622"/>
                  </a:lnTo>
                  <a:lnTo>
                    <a:pt x="2453" y="28490"/>
                  </a:lnTo>
                  <a:lnTo>
                    <a:pt x="1321" y="32169"/>
                  </a:lnTo>
                  <a:lnTo>
                    <a:pt x="1509" y="32264"/>
                  </a:lnTo>
                  <a:lnTo>
                    <a:pt x="1604" y="32453"/>
                  </a:lnTo>
                  <a:lnTo>
                    <a:pt x="1604" y="32641"/>
                  </a:lnTo>
                  <a:lnTo>
                    <a:pt x="1509" y="32924"/>
                  </a:lnTo>
                  <a:lnTo>
                    <a:pt x="1226" y="33396"/>
                  </a:lnTo>
                  <a:lnTo>
                    <a:pt x="1038" y="33585"/>
                  </a:lnTo>
                  <a:lnTo>
                    <a:pt x="1038" y="33773"/>
                  </a:lnTo>
                  <a:lnTo>
                    <a:pt x="1038" y="35000"/>
                  </a:lnTo>
                  <a:lnTo>
                    <a:pt x="849" y="36132"/>
                  </a:lnTo>
                  <a:lnTo>
                    <a:pt x="660" y="37358"/>
                  </a:lnTo>
                  <a:lnTo>
                    <a:pt x="472" y="38867"/>
                  </a:lnTo>
                  <a:lnTo>
                    <a:pt x="283" y="38301"/>
                  </a:lnTo>
                  <a:lnTo>
                    <a:pt x="94" y="39811"/>
                  </a:lnTo>
                  <a:lnTo>
                    <a:pt x="0" y="41509"/>
                  </a:lnTo>
                  <a:lnTo>
                    <a:pt x="94" y="43301"/>
                  </a:lnTo>
                  <a:lnTo>
                    <a:pt x="283" y="44056"/>
                  </a:lnTo>
                  <a:lnTo>
                    <a:pt x="472" y="44622"/>
                  </a:lnTo>
                  <a:lnTo>
                    <a:pt x="566" y="45660"/>
                  </a:lnTo>
                  <a:lnTo>
                    <a:pt x="755" y="46792"/>
                  </a:lnTo>
                  <a:lnTo>
                    <a:pt x="1226" y="48962"/>
                  </a:lnTo>
                  <a:lnTo>
                    <a:pt x="1981" y="51037"/>
                  </a:lnTo>
                  <a:lnTo>
                    <a:pt x="2924" y="53112"/>
                  </a:lnTo>
                  <a:lnTo>
                    <a:pt x="4057" y="55094"/>
                  </a:lnTo>
                  <a:lnTo>
                    <a:pt x="5283" y="56980"/>
                  </a:lnTo>
                  <a:lnTo>
                    <a:pt x="6698" y="58678"/>
                  </a:lnTo>
                  <a:lnTo>
                    <a:pt x="8113" y="60282"/>
                  </a:lnTo>
                  <a:lnTo>
                    <a:pt x="9056" y="61131"/>
                  </a:lnTo>
                  <a:lnTo>
                    <a:pt x="10000" y="61980"/>
                  </a:lnTo>
                  <a:lnTo>
                    <a:pt x="11038" y="62829"/>
                  </a:lnTo>
                  <a:lnTo>
                    <a:pt x="12075" y="63584"/>
                  </a:lnTo>
                  <a:lnTo>
                    <a:pt x="14339" y="64905"/>
                  </a:lnTo>
                  <a:lnTo>
                    <a:pt x="16604" y="66131"/>
                  </a:lnTo>
                  <a:lnTo>
                    <a:pt x="19056" y="67169"/>
                  </a:lnTo>
                  <a:lnTo>
                    <a:pt x="21509" y="67923"/>
                  </a:lnTo>
                  <a:lnTo>
                    <a:pt x="24056" y="68584"/>
                  </a:lnTo>
                  <a:lnTo>
                    <a:pt x="26603" y="69055"/>
                  </a:lnTo>
                  <a:lnTo>
                    <a:pt x="27830" y="69055"/>
                  </a:lnTo>
                  <a:lnTo>
                    <a:pt x="30188" y="68867"/>
                  </a:lnTo>
                  <a:lnTo>
                    <a:pt x="33113" y="68678"/>
                  </a:lnTo>
                  <a:lnTo>
                    <a:pt x="36509" y="68301"/>
                  </a:lnTo>
                  <a:lnTo>
                    <a:pt x="39811" y="67923"/>
                  </a:lnTo>
                  <a:lnTo>
                    <a:pt x="42735" y="67452"/>
                  </a:lnTo>
                  <a:lnTo>
                    <a:pt x="44905" y="66980"/>
                  </a:lnTo>
                  <a:lnTo>
                    <a:pt x="45565" y="66791"/>
                  </a:lnTo>
                  <a:lnTo>
                    <a:pt x="45943" y="66508"/>
                  </a:lnTo>
                  <a:lnTo>
                    <a:pt x="47358" y="65942"/>
                  </a:lnTo>
                  <a:lnTo>
                    <a:pt x="48018" y="65565"/>
                  </a:lnTo>
                  <a:lnTo>
                    <a:pt x="48678" y="65188"/>
                  </a:lnTo>
                  <a:lnTo>
                    <a:pt x="47924" y="65471"/>
                  </a:lnTo>
                  <a:lnTo>
                    <a:pt x="51509" y="62924"/>
                  </a:lnTo>
                  <a:lnTo>
                    <a:pt x="53301" y="61508"/>
                  </a:lnTo>
                  <a:lnTo>
                    <a:pt x="55093" y="59905"/>
                  </a:lnTo>
                  <a:lnTo>
                    <a:pt x="55093" y="59905"/>
                  </a:lnTo>
                  <a:lnTo>
                    <a:pt x="54810" y="60376"/>
                  </a:lnTo>
                  <a:lnTo>
                    <a:pt x="54339" y="60754"/>
                  </a:lnTo>
                  <a:lnTo>
                    <a:pt x="55376" y="59999"/>
                  </a:lnTo>
                  <a:lnTo>
                    <a:pt x="56320" y="59056"/>
                  </a:lnTo>
                  <a:lnTo>
                    <a:pt x="57075" y="58395"/>
                  </a:lnTo>
                  <a:lnTo>
                    <a:pt x="57169" y="58207"/>
                  </a:lnTo>
                  <a:lnTo>
                    <a:pt x="57075" y="58207"/>
                  </a:lnTo>
                  <a:lnTo>
                    <a:pt x="57924" y="57546"/>
                  </a:lnTo>
                  <a:lnTo>
                    <a:pt x="58678" y="56697"/>
                  </a:lnTo>
                  <a:lnTo>
                    <a:pt x="59339" y="55754"/>
                  </a:lnTo>
                  <a:lnTo>
                    <a:pt x="59905" y="54905"/>
                  </a:lnTo>
                  <a:lnTo>
                    <a:pt x="59716" y="54999"/>
                  </a:lnTo>
                  <a:lnTo>
                    <a:pt x="59622" y="54999"/>
                  </a:lnTo>
                  <a:lnTo>
                    <a:pt x="59810" y="54622"/>
                  </a:lnTo>
                  <a:lnTo>
                    <a:pt x="59150" y="55565"/>
                  </a:lnTo>
                  <a:lnTo>
                    <a:pt x="59527" y="55094"/>
                  </a:lnTo>
                  <a:lnTo>
                    <a:pt x="59433" y="55377"/>
                  </a:lnTo>
                  <a:lnTo>
                    <a:pt x="58867" y="56037"/>
                  </a:lnTo>
                  <a:lnTo>
                    <a:pt x="59056" y="55660"/>
                  </a:lnTo>
                  <a:lnTo>
                    <a:pt x="59056" y="55660"/>
                  </a:lnTo>
                  <a:lnTo>
                    <a:pt x="58678" y="56037"/>
                  </a:lnTo>
                  <a:lnTo>
                    <a:pt x="59810" y="54339"/>
                  </a:lnTo>
                  <a:lnTo>
                    <a:pt x="60282" y="53490"/>
                  </a:lnTo>
                  <a:lnTo>
                    <a:pt x="60282" y="53301"/>
                  </a:lnTo>
                  <a:lnTo>
                    <a:pt x="60188" y="53395"/>
                  </a:lnTo>
                  <a:lnTo>
                    <a:pt x="60188" y="53395"/>
                  </a:lnTo>
                  <a:lnTo>
                    <a:pt x="60565" y="52924"/>
                  </a:lnTo>
                  <a:lnTo>
                    <a:pt x="61037" y="52452"/>
                  </a:lnTo>
                  <a:lnTo>
                    <a:pt x="61886" y="51509"/>
                  </a:lnTo>
                  <a:lnTo>
                    <a:pt x="61508" y="52452"/>
                  </a:lnTo>
                  <a:lnTo>
                    <a:pt x="60848" y="53584"/>
                  </a:lnTo>
                  <a:lnTo>
                    <a:pt x="59622" y="55565"/>
                  </a:lnTo>
                  <a:lnTo>
                    <a:pt x="60376" y="54528"/>
                  </a:lnTo>
                  <a:lnTo>
                    <a:pt x="60942" y="53678"/>
                  </a:lnTo>
                  <a:lnTo>
                    <a:pt x="61980" y="51792"/>
                  </a:lnTo>
                  <a:lnTo>
                    <a:pt x="61886" y="51886"/>
                  </a:lnTo>
                  <a:lnTo>
                    <a:pt x="61886" y="51697"/>
                  </a:lnTo>
                  <a:lnTo>
                    <a:pt x="62169" y="51037"/>
                  </a:lnTo>
                  <a:lnTo>
                    <a:pt x="62735" y="49999"/>
                  </a:lnTo>
                  <a:lnTo>
                    <a:pt x="61508" y="51603"/>
                  </a:lnTo>
                  <a:lnTo>
                    <a:pt x="61603" y="51037"/>
                  </a:lnTo>
                  <a:lnTo>
                    <a:pt x="61697" y="50377"/>
                  </a:lnTo>
                  <a:lnTo>
                    <a:pt x="62169" y="48962"/>
                  </a:lnTo>
                  <a:lnTo>
                    <a:pt x="62829" y="47358"/>
                  </a:lnTo>
                  <a:lnTo>
                    <a:pt x="63678" y="45565"/>
                  </a:lnTo>
                  <a:lnTo>
                    <a:pt x="65376" y="42169"/>
                  </a:lnTo>
                  <a:lnTo>
                    <a:pt x="66131" y="40660"/>
                  </a:lnTo>
                  <a:lnTo>
                    <a:pt x="66697" y="39339"/>
                  </a:lnTo>
                  <a:lnTo>
                    <a:pt x="66603" y="39528"/>
                  </a:lnTo>
                  <a:lnTo>
                    <a:pt x="66697" y="39056"/>
                  </a:lnTo>
                  <a:lnTo>
                    <a:pt x="66791" y="38962"/>
                  </a:lnTo>
                  <a:lnTo>
                    <a:pt x="66791" y="39056"/>
                  </a:lnTo>
                  <a:lnTo>
                    <a:pt x="66886" y="38584"/>
                  </a:lnTo>
                  <a:lnTo>
                    <a:pt x="66791" y="38867"/>
                  </a:lnTo>
                  <a:lnTo>
                    <a:pt x="66980" y="38207"/>
                  </a:lnTo>
                  <a:lnTo>
                    <a:pt x="67169" y="37264"/>
                  </a:lnTo>
                  <a:lnTo>
                    <a:pt x="67263" y="36415"/>
                  </a:lnTo>
                  <a:lnTo>
                    <a:pt x="67357" y="36509"/>
                  </a:lnTo>
                  <a:lnTo>
                    <a:pt x="67452" y="36509"/>
                  </a:lnTo>
                  <a:lnTo>
                    <a:pt x="67546" y="35943"/>
                  </a:lnTo>
                  <a:lnTo>
                    <a:pt x="67546" y="34811"/>
                  </a:lnTo>
                  <a:lnTo>
                    <a:pt x="67640" y="31037"/>
                  </a:lnTo>
                  <a:lnTo>
                    <a:pt x="67640" y="28490"/>
                  </a:lnTo>
                  <a:lnTo>
                    <a:pt x="67546" y="27736"/>
                  </a:lnTo>
                  <a:lnTo>
                    <a:pt x="67546" y="27547"/>
                  </a:lnTo>
                  <a:lnTo>
                    <a:pt x="67452" y="27547"/>
                  </a:lnTo>
                  <a:lnTo>
                    <a:pt x="67074" y="26792"/>
                  </a:lnTo>
                  <a:lnTo>
                    <a:pt x="66791" y="25660"/>
                  </a:lnTo>
                  <a:lnTo>
                    <a:pt x="66508" y="24528"/>
                  </a:lnTo>
                  <a:lnTo>
                    <a:pt x="66414" y="23585"/>
                  </a:lnTo>
                  <a:lnTo>
                    <a:pt x="66320" y="23679"/>
                  </a:lnTo>
                  <a:lnTo>
                    <a:pt x="66320" y="23490"/>
                  </a:lnTo>
                  <a:lnTo>
                    <a:pt x="65942" y="22924"/>
                  </a:lnTo>
                  <a:lnTo>
                    <a:pt x="65565" y="22358"/>
                  </a:lnTo>
                  <a:lnTo>
                    <a:pt x="64527" y="21132"/>
                  </a:lnTo>
                  <a:lnTo>
                    <a:pt x="63584" y="19906"/>
                  </a:lnTo>
                  <a:lnTo>
                    <a:pt x="63207" y="19340"/>
                  </a:lnTo>
                  <a:lnTo>
                    <a:pt x="63018" y="18774"/>
                  </a:lnTo>
                  <a:lnTo>
                    <a:pt x="63112" y="18962"/>
                  </a:lnTo>
                  <a:lnTo>
                    <a:pt x="63301" y="19057"/>
                  </a:lnTo>
                  <a:lnTo>
                    <a:pt x="63301" y="19057"/>
                  </a:lnTo>
                  <a:lnTo>
                    <a:pt x="63207" y="18868"/>
                  </a:lnTo>
                  <a:lnTo>
                    <a:pt x="62923" y="18491"/>
                  </a:lnTo>
                  <a:lnTo>
                    <a:pt x="61980" y="17453"/>
                  </a:lnTo>
                  <a:lnTo>
                    <a:pt x="61037" y="16509"/>
                  </a:lnTo>
                  <a:lnTo>
                    <a:pt x="61037" y="16698"/>
                  </a:lnTo>
                  <a:lnTo>
                    <a:pt x="61037" y="16887"/>
                  </a:lnTo>
                  <a:lnTo>
                    <a:pt x="60093" y="15943"/>
                  </a:lnTo>
                  <a:lnTo>
                    <a:pt x="60376" y="16321"/>
                  </a:lnTo>
                  <a:lnTo>
                    <a:pt x="59527" y="15377"/>
                  </a:lnTo>
                  <a:lnTo>
                    <a:pt x="59056" y="14906"/>
                  </a:lnTo>
                  <a:lnTo>
                    <a:pt x="59244" y="14906"/>
                  </a:lnTo>
                  <a:lnTo>
                    <a:pt x="59905" y="15472"/>
                  </a:lnTo>
                  <a:lnTo>
                    <a:pt x="59905" y="15472"/>
                  </a:lnTo>
                  <a:lnTo>
                    <a:pt x="57641" y="13396"/>
                  </a:lnTo>
                  <a:lnTo>
                    <a:pt x="58112" y="13868"/>
                  </a:lnTo>
                  <a:lnTo>
                    <a:pt x="56886" y="13019"/>
                  </a:lnTo>
                  <a:lnTo>
                    <a:pt x="55754" y="12453"/>
                  </a:lnTo>
                  <a:lnTo>
                    <a:pt x="56603" y="13113"/>
                  </a:lnTo>
                  <a:lnTo>
                    <a:pt x="57452" y="13774"/>
                  </a:lnTo>
                  <a:lnTo>
                    <a:pt x="58961" y="15283"/>
                  </a:lnTo>
                  <a:lnTo>
                    <a:pt x="60376" y="16604"/>
                  </a:lnTo>
                  <a:lnTo>
                    <a:pt x="61225" y="17264"/>
                  </a:lnTo>
                  <a:lnTo>
                    <a:pt x="62074" y="17925"/>
                  </a:lnTo>
                  <a:lnTo>
                    <a:pt x="62074" y="17925"/>
                  </a:lnTo>
                  <a:lnTo>
                    <a:pt x="61414" y="17547"/>
                  </a:lnTo>
                  <a:lnTo>
                    <a:pt x="60659" y="16981"/>
                  </a:lnTo>
                  <a:lnTo>
                    <a:pt x="60754" y="17264"/>
                  </a:lnTo>
                  <a:lnTo>
                    <a:pt x="60942" y="17642"/>
                  </a:lnTo>
                  <a:lnTo>
                    <a:pt x="61980" y="19151"/>
                  </a:lnTo>
                  <a:lnTo>
                    <a:pt x="63301" y="20943"/>
                  </a:lnTo>
                  <a:lnTo>
                    <a:pt x="63207" y="20943"/>
                  </a:lnTo>
                  <a:lnTo>
                    <a:pt x="63395" y="21038"/>
                  </a:lnTo>
                  <a:lnTo>
                    <a:pt x="63490" y="21321"/>
                  </a:lnTo>
                  <a:lnTo>
                    <a:pt x="63678" y="21604"/>
                  </a:lnTo>
                  <a:lnTo>
                    <a:pt x="63773" y="21698"/>
                  </a:lnTo>
                  <a:lnTo>
                    <a:pt x="63584" y="21321"/>
                  </a:lnTo>
                  <a:lnTo>
                    <a:pt x="63584" y="21321"/>
                  </a:lnTo>
                  <a:lnTo>
                    <a:pt x="64244" y="22170"/>
                  </a:lnTo>
                  <a:lnTo>
                    <a:pt x="64716" y="22641"/>
                  </a:lnTo>
                  <a:lnTo>
                    <a:pt x="64905" y="22830"/>
                  </a:lnTo>
                  <a:lnTo>
                    <a:pt x="64999" y="22830"/>
                  </a:lnTo>
                  <a:lnTo>
                    <a:pt x="64999" y="22641"/>
                  </a:lnTo>
                  <a:lnTo>
                    <a:pt x="64905" y="22358"/>
                  </a:lnTo>
                  <a:lnTo>
                    <a:pt x="65282" y="23207"/>
                  </a:lnTo>
                  <a:lnTo>
                    <a:pt x="65565" y="24056"/>
                  </a:lnTo>
                  <a:lnTo>
                    <a:pt x="66225" y="25943"/>
                  </a:lnTo>
                  <a:lnTo>
                    <a:pt x="66697" y="27830"/>
                  </a:lnTo>
                  <a:lnTo>
                    <a:pt x="66886" y="28490"/>
                  </a:lnTo>
                  <a:lnTo>
                    <a:pt x="66980" y="28868"/>
                  </a:lnTo>
                  <a:lnTo>
                    <a:pt x="66886" y="28962"/>
                  </a:lnTo>
                  <a:lnTo>
                    <a:pt x="66697" y="28679"/>
                  </a:lnTo>
                  <a:lnTo>
                    <a:pt x="66697" y="29245"/>
                  </a:lnTo>
                  <a:lnTo>
                    <a:pt x="66791" y="29905"/>
                  </a:lnTo>
                  <a:lnTo>
                    <a:pt x="66886" y="29905"/>
                  </a:lnTo>
                  <a:lnTo>
                    <a:pt x="66886" y="30094"/>
                  </a:lnTo>
                  <a:lnTo>
                    <a:pt x="66886" y="30566"/>
                  </a:lnTo>
                  <a:lnTo>
                    <a:pt x="66697" y="30377"/>
                  </a:lnTo>
                  <a:lnTo>
                    <a:pt x="66603" y="30188"/>
                  </a:lnTo>
                  <a:lnTo>
                    <a:pt x="66603" y="30094"/>
                  </a:lnTo>
                  <a:lnTo>
                    <a:pt x="66697" y="29905"/>
                  </a:lnTo>
                  <a:lnTo>
                    <a:pt x="66508" y="28679"/>
                  </a:lnTo>
                  <a:lnTo>
                    <a:pt x="66225" y="27358"/>
                  </a:lnTo>
                  <a:lnTo>
                    <a:pt x="66603" y="30283"/>
                  </a:lnTo>
                  <a:lnTo>
                    <a:pt x="66697" y="31792"/>
                  </a:lnTo>
                  <a:lnTo>
                    <a:pt x="66697" y="33302"/>
                  </a:lnTo>
                  <a:lnTo>
                    <a:pt x="66603" y="34717"/>
                  </a:lnTo>
                  <a:lnTo>
                    <a:pt x="66414" y="36226"/>
                  </a:lnTo>
                  <a:lnTo>
                    <a:pt x="66131" y="37547"/>
                  </a:lnTo>
                  <a:lnTo>
                    <a:pt x="65659" y="38962"/>
                  </a:lnTo>
                  <a:lnTo>
                    <a:pt x="65848" y="38584"/>
                  </a:lnTo>
                  <a:lnTo>
                    <a:pt x="65942" y="38584"/>
                  </a:lnTo>
                  <a:lnTo>
                    <a:pt x="65848" y="39245"/>
                  </a:lnTo>
                  <a:lnTo>
                    <a:pt x="65565" y="40188"/>
                  </a:lnTo>
                  <a:lnTo>
                    <a:pt x="65471" y="40471"/>
                  </a:lnTo>
                  <a:lnTo>
                    <a:pt x="65282" y="40660"/>
                  </a:lnTo>
                  <a:lnTo>
                    <a:pt x="65282" y="40566"/>
                  </a:lnTo>
                  <a:lnTo>
                    <a:pt x="65093" y="41132"/>
                  </a:lnTo>
                  <a:lnTo>
                    <a:pt x="64433" y="43018"/>
                  </a:lnTo>
                  <a:lnTo>
                    <a:pt x="63678" y="45282"/>
                  </a:lnTo>
                  <a:lnTo>
                    <a:pt x="62735" y="47264"/>
                  </a:lnTo>
                  <a:lnTo>
                    <a:pt x="61697" y="49056"/>
                  </a:lnTo>
                  <a:lnTo>
                    <a:pt x="60659" y="50943"/>
                  </a:lnTo>
                  <a:lnTo>
                    <a:pt x="59433" y="52735"/>
                  </a:lnTo>
                  <a:lnTo>
                    <a:pt x="58207" y="54433"/>
                  </a:lnTo>
                  <a:lnTo>
                    <a:pt x="56886" y="56037"/>
                  </a:lnTo>
                  <a:lnTo>
                    <a:pt x="55376" y="57641"/>
                  </a:lnTo>
                  <a:lnTo>
                    <a:pt x="53867" y="59150"/>
                  </a:lnTo>
                  <a:lnTo>
                    <a:pt x="52169" y="60376"/>
                  </a:lnTo>
                  <a:lnTo>
                    <a:pt x="48961" y="62452"/>
                  </a:lnTo>
                  <a:lnTo>
                    <a:pt x="44528" y="65282"/>
                  </a:lnTo>
                  <a:lnTo>
                    <a:pt x="44622" y="65188"/>
                  </a:lnTo>
                  <a:lnTo>
                    <a:pt x="44716" y="65093"/>
                  </a:lnTo>
                  <a:lnTo>
                    <a:pt x="45094" y="64810"/>
                  </a:lnTo>
                  <a:lnTo>
                    <a:pt x="45660" y="64527"/>
                  </a:lnTo>
                  <a:lnTo>
                    <a:pt x="43867" y="65376"/>
                  </a:lnTo>
                  <a:lnTo>
                    <a:pt x="43113" y="65754"/>
                  </a:lnTo>
                  <a:lnTo>
                    <a:pt x="42924" y="65754"/>
                  </a:lnTo>
                  <a:lnTo>
                    <a:pt x="43113" y="65659"/>
                  </a:lnTo>
                  <a:lnTo>
                    <a:pt x="41603" y="66037"/>
                  </a:lnTo>
                  <a:lnTo>
                    <a:pt x="39999" y="66320"/>
                  </a:lnTo>
                  <a:lnTo>
                    <a:pt x="38396" y="66508"/>
                  </a:lnTo>
                  <a:lnTo>
                    <a:pt x="36792" y="66697"/>
                  </a:lnTo>
                  <a:lnTo>
                    <a:pt x="33584" y="66980"/>
                  </a:lnTo>
                  <a:lnTo>
                    <a:pt x="32169" y="67169"/>
                  </a:lnTo>
                  <a:lnTo>
                    <a:pt x="30754" y="67357"/>
                  </a:lnTo>
                  <a:lnTo>
                    <a:pt x="30094" y="67357"/>
                  </a:lnTo>
                  <a:lnTo>
                    <a:pt x="29339" y="67263"/>
                  </a:lnTo>
                  <a:lnTo>
                    <a:pt x="27830" y="66886"/>
                  </a:lnTo>
                  <a:lnTo>
                    <a:pt x="26415" y="66508"/>
                  </a:lnTo>
                  <a:lnTo>
                    <a:pt x="25754" y="66414"/>
                  </a:lnTo>
                  <a:lnTo>
                    <a:pt x="25094" y="66414"/>
                  </a:lnTo>
                  <a:lnTo>
                    <a:pt x="25566" y="66980"/>
                  </a:lnTo>
                  <a:lnTo>
                    <a:pt x="25471" y="67074"/>
                  </a:lnTo>
                  <a:lnTo>
                    <a:pt x="25188" y="66980"/>
                  </a:lnTo>
                  <a:lnTo>
                    <a:pt x="24339" y="66791"/>
                  </a:lnTo>
                  <a:lnTo>
                    <a:pt x="23773" y="66508"/>
                  </a:lnTo>
                  <a:lnTo>
                    <a:pt x="24245" y="66414"/>
                  </a:lnTo>
                  <a:lnTo>
                    <a:pt x="24717" y="66603"/>
                  </a:lnTo>
                  <a:lnTo>
                    <a:pt x="24811" y="66414"/>
                  </a:lnTo>
                  <a:lnTo>
                    <a:pt x="24811" y="66320"/>
                  </a:lnTo>
                  <a:lnTo>
                    <a:pt x="24717" y="66225"/>
                  </a:lnTo>
                  <a:lnTo>
                    <a:pt x="24528" y="66131"/>
                  </a:lnTo>
                  <a:lnTo>
                    <a:pt x="24151" y="66225"/>
                  </a:lnTo>
                  <a:lnTo>
                    <a:pt x="23679" y="66320"/>
                  </a:lnTo>
                  <a:lnTo>
                    <a:pt x="23018" y="66414"/>
                  </a:lnTo>
                  <a:lnTo>
                    <a:pt x="23490" y="66225"/>
                  </a:lnTo>
                  <a:lnTo>
                    <a:pt x="22075" y="65942"/>
                  </a:lnTo>
                  <a:lnTo>
                    <a:pt x="20943" y="65659"/>
                  </a:lnTo>
                  <a:lnTo>
                    <a:pt x="20000" y="65282"/>
                  </a:lnTo>
                  <a:lnTo>
                    <a:pt x="19056" y="64810"/>
                  </a:lnTo>
                  <a:lnTo>
                    <a:pt x="19056" y="64810"/>
                  </a:lnTo>
                  <a:lnTo>
                    <a:pt x="19717" y="64999"/>
                  </a:lnTo>
                  <a:lnTo>
                    <a:pt x="19151" y="64716"/>
                  </a:lnTo>
                  <a:lnTo>
                    <a:pt x="18962" y="64810"/>
                  </a:lnTo>
                  <a:lnTo>
                    <a:pt x="19151" y="64905"/>
                  </a:lnTo>
                  <a:lnTo>
                    <a:pt x="18490" y="64905"/>
                  </a:lnTo>
                  <a:lnTo>
                    <a:pt x="17830" y="64716"/>
                  </a:lnTo>
                  <a:lnTo>
                    <a:pt x="17264" y="64527"/>
                  </a:lnTo>
                  <a:lnTo>
                    <a:pt x="16698" y="64150"/>
                  </a:lnTo>
                  <a:lnTo>
                    <a:pt x="16981" y="64056"/>
                  </a:lnTo>
                  <a:lnTo>
                    <a:pt x="17264" y="64150"/>
                  </a:lnTo>
                  <a:lnTo>
                    <a:pt x="17264" y="64150"/>
                  </a:lnTo>
                  <a:lnTo>
                    <a:pt x="15188" y="63207"/>
                  </a:lnTo>
                  <a:lnTo>
                    <a:pt x="14622" y="62829"/>
                  </a:lnTo>
                  <a:lnTo>
                    <a:pt x="14717" y="62924"/>
                  </a:lnTo>
                  <a:lnTo>
                    <a:pt x="13773" y="62546"/>
                  </a:lnTo>
                  <a:lnTo>
                    <a:pt x="12924" y="62075"/>
                  </a:lnTo>
                  <a:lnTo>
                    <a:pt x="12358" y="61697"/>
                  </a:lnTo>
                  <a:lnTo>
                    <a:pt x="12264" y="61508"/>
                  </a:lnTo>
                  <a:lnTo>
                    <a:pt x="12170" y="61320"/>
                  </a:lnTo>
                  <a:lnTo>
                    <a:pt x="11698" y="60942"/>
                  </a:lnTo>
                  <a:lnTo>
                    <a:pt x="11132" y="60471"/>
                  </a:lnTo>
                  <a:lnTo>
                    <a:pt x="9906" y="59244"/>
                  </a:lnTo>
                  <a:lnTo>
                    <a:pt x="9906" y="59244"/>
                  </a:lnTo>
                  <a:lnTo>
                    <a:pt x="10566" y="59527"/>
                  </a:lnTo>
                  <a:lnTo>
                    <a:pt x="9434" y="58584"/>
                  </a:lnTo>
                  <a:lnTo>
                    <a:pt x="8207" y="57546"/>
                  </a:lnTo>
                  <a:lnTo>
                    <a:pt x="7547" y="56886"/>
                  </a:lnTo>
                  <a:lnTo>
                    <a:pt x="6981" y="56131"/>
                  </a:lnTo>
                  <a:lnTo>
                    <a:pt x="6226" y="55094"/>
                  </a:lnTo>
                  <a:lnTo>
                    <a:pt x="6415" y="55377"/>
                  </a:lnTo>
                  <a:lnTo>
                    <a:pt x="6038" y="54905"/>
                  </a:lnTo>
                  <a:lnTo>
                    <a:pt x="5472" y="54244"/>
                  </a:lnTo>
                  <a:lnTo>
                    <a:pt x="5283" y="53961"/>
                  </a:lnTo>
                  <a:lnTo>
                    <a:pt x="5094" y="53867"/>
                  </a:lnTo>
                  <a:lnTo>
                    <a:pt x="5377" y="54622"/>
                  </a:lnTo>
                  <a:lnTo>
                    <a:pt x="5849" y="55282"/>
                  </a:lnTo>
                  <a:lnTo>
                    <a:pt x="6321" y="55943"/>
                  </a:lnTo>
                  <a:lnTo>
                    <a:pt x="6698" y="56603"/>
                  </a:lnTo>
                  <a:lnTo>
                    <a:pt x="6226" y="56226"/>
                  </a:lnTo>
                  <a:lnTo>
                    <a:pt x="5943" y="55848"/>
                  </a:lnTo>
                  <a:lnTo>
                    <a:pt x="6038" y="56037"/>
                  </a:lnTo>
                  <a:lnTo>
                    <a:pt x="5943" y="55943"/>
                  </a:lnTo>
                  <a:lnTo>
                    <a:pt x="5377" y="55188"/>
                  </a:lnTo>
                  <a:lnTo>
                    <a:pt x="5000" y="54716"/>
                  </a:lnTo>
                  <a:lnTo>
                    <a:pt x="4717" y="54150"/>
                  </a:lnTo>
                  <a:lnTo>
                    <a:pt x="4528" y="53678"/>
                  </a:lnTo>
                  <a:lnTo>
                    <a:pt x="4528" y="53584"/>
                  </a:lnTo>
                  <a:lnTo>
                    <a:pt x="4623" y="53395"/>
                  </a:lnTo>
                  <a:lnTo>
                    <a:pt x="5094" y="54244"/>
                  </a:lnTo>
                  <a:lnTo>
                    <a:pt x="4717" y="53301"/>
                  </a:lnTo>
                  <a:lnTo>
                    <a:pt x="4528" y="53018"/>
                  </a:lnTo>
                  <a:lnTo>
                    <a:pt x="4151" y="52263"/>
                  </a:lnTo>
                  <a:lnTo>
                    <a:pt x="4151" y="52169"/>
                  </a:lnTo>
                  <a:lnTo>
                    <a:pt x="3774" y="51509"/>
                  </a:lnTo>
                  <a:lnTo>
                    <a:pt x="3396" y="50660"/>
                  </a:lnTo>
                  <a:lnTo>
                    <a:pt x="3585" y="51603"/>
                  </a:lnTo>
                  <a:lnTo>
                    <a:pt x="3396" y="51226"/>
                  </a:lnTo>
                  <a:lnTo>
                    <a:pt x="3208" y="50848"/>
                  </a:lnTo>
                  <a:lnTo>
                    <a:pt x="3208" y="50471"/>
                  </a:lnTo>
                  <a:lnTo>
                    <a:pt x="3208" y="50094"/>
                  </a:lnTo>
                  <a:lnTo>
                    <a:pt x="3585" y="50754"/>
                  </a:lnTo>
                  <a:lnTo>
                    <a:pt x="3868" y="51509"/>
                  </a:lnTo>
                  <a:lnTo>
                    <a:pt x="3868" y="51509"/>
                  </a:lnTo>
                  <a:lnTo>
                    <a:pt x="3208" y="49528"/>
                  </a:lnTo>
                  <a:lnTo>
                    <a:pt x="3208" y="49528"/>
                  </a:lnTo>
                  <a:lnTo>
                    <a:pt x="3868" y="50754"/>
                  </a:lnTo>
                  <a:lnTo>
                    <a:pt x="3208" y="48962"/>
                  </a:lnTo>
                  <a:lnTo>
                    <a:pt x="3585" y="49339"/>
                  </a:lnTo>
                  <a:lnTo>
                    <a:pt x="3774" y="49433"/>
                  </a:lnTo>
                  <a:lnTo>
                    <a:pt x="3962" y="49528"/>
                  </a:lnTo>
                  <a:lnTo>
                    <a:pt x="4057" y="49905"/>
                  </a:lnTo>
                  <a:lnTo>
                    <a:pt x="3868" y="48962"/>
                  </a:lnTo>
                  <a:lnTo>
                    <a:pt x="3491" y="47924"/>
                  </a:lnTo>
                  <a:lnTo>
                    <a:pt x="2641" y="45565"/>
                  </a:lnTo>
                  <a:lnTo>
                    <a:pt x="2170" y="43867"/>
                  </a:lnTo>
                  <a:lnTo>
                    <a:pt x="1698" y="41886"/>
                  </a:lnTo>
                  <a:lnTo>
                    <a:pt x="1698" y="41886"/>
                  </a:lnTo>
                  <a:lnTo>
                    <a:pt x="1887" y="42075"/>
                  </a:lnTo>
                  <a:lnTo>
                    <a:pt x="1981" y="41981"/>
                  </a:lnTo>
                  <a:lnTo>
                    <a:pt x="2075" y="42075"/>
                  </a:lnTo>
                  <a:lnTo>
                    <a:pt x="2264" y="42169"/>
                  </a:lnTo>
                  <a:lnTo>
                    <a:pt x="2170" y="40283"/>
                  </a:lnTo>
                  <a:lnTo>
                    <a:pt x="2075" y="38301"/>
                  </a:lnTo>
                  <a:lnTo>
                    <a:pt x="2170" y="36415"/>
                  </a:lnTo>
                  <a:lnTo>
                    <a:pt x="2358" y="35566"/>
                  </a:lnTo>
                  <a:lnTo>
                    <a:pt x="2453" y="34811"/>
                  </a:lnTo>
                  <a:lnTo>
                    <a:pt x="2830" y="32830"/>
                  </a:lnTo>
                  <a:lnTo>
                    <a:pt x="2830" y="33207"/>
                  </a:lnTo>
                  <a:lnTo>
                    <a:pt x="2924" y="33490"/>
                  </a:lnTo>
                  <a:lnTo>
                    <a:pt x="2924" y="32453"/>
                  </a:lnTo>
                  <a:lnTo>
                    <a:pt x="3019" y="31415"/>
                  </a:lnTo>
                  <a:lnTo>
                    <a:pt x="3396" y="29245"/>
                  </a:lnTo>
                  <a:lnTo>
                    <a:pt x="3868" y="27075"/>
                  </a:lnTo>
                  <a:lnTo>
                    <a:pt x="4623" y="25000"/>
                  </a:lnTo>
                  <a:lnTo>
                    <a:pt x="5566" y="22830"/>
                  </a:lnTo>
                  <a:lnTo>
                    <a:pt x="6604" y="20849"/>
                  </a:lnTo>
                  <a:lnTo>
                    <a:pt x="7830" y="18868"/>
                  </a:lnTo>
                  <a:lnTo>
                    <a:pt x="9151" y="16887"/>
                  </a:lnTo>
                  <a:lnTo>
                    <a:pt x="10566" y="15094"/>
                  </a:lnTo>
                  <a:lnTo>
                    <a:pt x="12075" y="13302"/>
                  </a:lnTo>
                  <a:lnTo>
                    <a:pt x="13773" y="11698"/>
                  </a:lnTo>
                  <a:lnTo>
                    <a:pt x="15377" y="10095"/>
                  </a:lnTo>
                  <a:lnTo>
                    <a:pt x="17170" y="8679"/>
                  </a:lnTo>
                  <a:lnTo>
                    <a:pt x="18962" y="7453"/>
                  </a:lnTo>
                  <a:lnTo>
                    <a:pt x="20754" y="6321"/>
                  </a:lnTo>
                  <a:lnTo>
                    <a:pt x="22547" y="5378"/>
                  </a:lnTo>
                  <a:lnTo>
                    <a:pt x="21603" y="6227"/>
                  </a:lnTo>
                  <a:lnTo>
                    <a:pt x="22641" y="5472"/>
                  </a:lnTo>
                  <a:lnTo>
                    <a:pt x="23302" y="5095"/>
                  </a:lnTo>
                  <a:lnTo>
                    <a:pt x="25377" y="4151"/>
                  </a:lnTo>
                  <a:lnTo>
                    <a:pt x="24811" y="4151"/>
                  </a:lnTo>
                  <a:lnTo>
                    <a:pt x="25660" y="3774"/>
                  </a:lnTo>
                  <a:lnTo>
                    <a:pt x="26886" y="3208"/>
                  </a:lnTo>
                  <a:lnTo>
                    <a:pt x="26603" y="3585"/>
                  </a:lnTo>
                  <a:lnTo>
                    <a:pt x="26886" y="3585"/>
                  </a:lnTo>
                  <a:lnTo>
                    <a:pt x="26886" y="3680"/>
                  </a:lnTo>
                  <a:lnTo>
                    <a:pt x="26792" y="3774"/>
                  </a:lnTo>
                  <a:lnTo>
                    <a:pt x="28301" y="3302"/>
                  </a:lnTo>
                  <a:lnTo>
                    <a:pt x="29622" y="2736"/>
                  </a:lnTo>
                  <a:lnTo>
                    <a:pt x="31037" y="2264"/>
                  </a:lnTo>
                  <a:lnTo>
                    <a:pt x="31792" y="2076"/>
                  </a:lnTo>
                  <a:lnTo>
                    <a:pt x="32641" y="1981"/>
                  </a:lnTo>
                  <a:lnTo>
                    <a:pt x="32547" y="2076"/>
                  </a:lnTo>
                  <a:lnTo>
                    <a:pt x="32924" y="1981"/>
                  </a:lnTo>
                  <a:lnTo>
                    <a:pt x="34245" y="1793"/>
                  </a:lnTo>
                  <a:lnTo>
                    <a:pt x="35848" y="1415"/>
                  </a:lnTo>
                  <a:lnTo>
                    <a:pt x="36981" y="1132"/>
                  </a:lnTo>
                  <a:lnTo>
                    <a:pt x="36981" y="1415"/>
                  </a:lnTo>
                  <a:lnTo>
                    <a:pt x="40943" y="1227"/>
                  </a:lnTo>
                  <a:lnTo>
                    <a:pt x="41509" y="1038"/>
                  </a:lnTo>
                  <a:lnTo>
                    <a:pt x="41697" y="1132"/>
                  </a:lnTo>
                  <a:lnTo>
                    <a:pt x="41509" y="1227"/>
                  </a:lnTo>
                  <a:lnTo>
                    <a:pt x="41320" y="1321"/>
                  </a:lnTo>
                  <a:lnTo>
                    <a:pt x="42263" y="1321"/>
                  </a:lnTo>
                  <a:lnTo>
                    <a:pt x="43113" y="1227"/>
                  </a:lnTo>
                  <a:lnTo>
                    <a:pt x="43396" y="1415"/>
                  </a:lnTo>
                  <a:lnTo>
                    <a:pt x="44056" y="1604"/>
                  </a:lnTo>
                  <a:lnTo>
                    <a:pt x="45943" y="2076"/>
                  </a:lnTo>
                  <a:lnTo>
                    <a:pt x="48018" y="2359"/>
                  </a:lnTo>
                  <a:lnTo>
                    <a:pt x="49622" y="2736"/>
                  </a:lnTo>
                  <a:lnTo>
                    <a:pt x="47641" y="1981"/>
                  </a:lnTo>
                  <a:lnTo>
                    <a:pt x="45282" y="1321"/>
                  </a:lnTo>
                  <a:lnTo>
                    <a:pt x="42735" y="755"/>
                  </a:lnTo>
                  <a:lnTo>
                    <a:pt x="40188" y="283"/>
                  </a:lnTo>
                  <a:lnTo>
                    <a:pt x="37735" y="95"/>
                  </a:lnTo>
                  <a:lnTo>
                    <a:pt x="3547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FDE4224-708A-824D-98E3-596B6C333F02}"/>
                </a:ext>
              </a:extLst>
            </p:cNvPr>
            <p:cNvSpPr txBox="1"/>
            <p:nvPr/>
          </p:nvSpPr>
          <p:spPr>
            <a:xfrm>
              <a:off x="720866" y="1199338"/>
              <a:ext cx="30168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5192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CITIBanamex-MX2020 Grid 16:9">
  <a:themeElements>
    <a:clrScheme name="CITIBanamex-MX2020">
      <a:dk1>
        <a:srgbClr val="002D72"/>
      </a:dk1>
      <a:lt1>
        <a:sysClr val="window" lastClr="FFFFFF"/>
      </a:lt1>
      <a:dk2>
        <a:srgbClr val="002D72"/>
      </a:dk2>
      <a:lt2>
        <a:srgbClr val="F2F2F2"/>
      </a:lt2>
      <a:accent1>
        <a:srgbClr val="001636"/>
      </a:accent1>
      <a:accent2>
        <a:srgbClr val="001F4C"/>
      </a:accent2>
      <a:accent3>
        <a:srgbClr val="FEEC00"/>
      </a:accent3>
      <a:accent4>
        <a:srgbClr val="004683"/>
      </a:accent4>
      <a:accent5>
        <a:srgbClr val="808080"/>
      </a:accent5>
      <a:accent6>
        <a:srgbClr val="8C0512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4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12.xml><?xml version="1.0" encoding="utf-8"?>
<a:theme xmlns:a="http://schemas.openxmlformats.org/drawingml/2006/main" name="5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4C19DBE-7440-4D40-A0AB-8BCC335FFB2D}" vid="{F0E4EF95-0183-4CD1-8F68-50C0E32646C5}"/>
    </a:ext>
  </a:extLst>
</a:theme>
</file>

<file path=ppt/theme/theme13.xml><?xml version="1.0" encoding="utf-8"?>
<a:theme xmlns:a="http://schemas.openxmlformats.org/drawingml/2006/main" name="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Citi Consumer PPT Template">
  <a:themeElements>
    <a:clrScheme name="Citi_corporate_sampleslides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sampleslides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6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17.xml><?xml version="1.0" encoding="utf-8"?>
<a:theme xmlns:a="http://schemas.openxmlformats.org/drawingml/2006/main" name="9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4C19DBE-7440-4D40-A0AB-8BCC335FFB2D}" vid="{F0E4EF95-0183-4CD1-8F68-50C0E32646C5}"/>
    </a:ext>
  </a:extLst>
</a:theme>
</file>

<file path=ppt/theme/theme18.xml><?xml version="1.0" encoding="utf-8"?>
<a:theme xmlns:a="http://schemas.openxmlformats.org/drawingml/2006/main" name="1_CITIBanamex-MX2020 Grid 16:9">
  <a:themeElements>
    <a:clrScheme name="CITIBanamex-MX2020">
      <a:dk1>
        <a:srgbClr val="002D72"/>
      </a:dk1>
      <a:lt1>
        <a:sysClr val="window" lastClr="FFFFFF"/>
      </a:lt1>
      <a:dk2>
        <a:srgbClr val="002D72"/>
      </a:dk2>
      <a:lt2>
        <a:srgbClr val="F2F2F2"/>
      </a:lt2>
      <a:accent1>
        <a:srgbClr val="001636"/>
      </a:accent1>
      <a:accent2>
        <a:srgbClr val="001F4C"/>
      </a:accent2>
      <a:accent3>
        <a:srgbClr val="FEEC00"/>
      </a:accent3>
      <a:accent4>
        <a:srgbClr val="004683"/>
      </a:accent4>
      <a:accent5>
        <a:srgbClr val="808080"/>
      </a:accent5>
      <a:accent6>
        <a:srgbClr val="8C0512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9.xml><?xml version="1.0" encoding="utf-8"?>
<a:theme xmlns:a="http://schemas.openxmlformats.org/drawingml/2006/main" name="7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.xml><?xml version="1.0" encoding="utf-8"?>
<a:theme xmlns:a="http://schemas.openxmlformats.org/drawingml/2006/main" name="Blank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1.xml><?xml version="1.0" encoding="utf-8"?>
<a:theme xmlns:a="http://schemas.openxmlformats.org/drawingml/2006/main" name="14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2.xml><?xml version="1.0" encoding="utf-8"?>
<a:theme xmlns:a="http://schemas.openxmlformats.org/drawingml/2006/main" name="16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3.xml><?xml version="1.0" encoding="utf-8"?>
<a:theme xmlns:a="http://schemas.openxmlformats.org/drawingml/2006/main" name="20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4.xml><?xml version="1.0" encoding="utf-8"?>
<a:theme xmlns:a="http://schemas.openxmlformats.org/drawingml/2006/main" name="22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lank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lank">
  <a:themeElements>
    <a:clrScheme name="Citi">
      <a:dk1>
        <a:srgbClr val="002D72"/>
      </a:dk1>
      <a:lt1>
        <a:srgbClr val="FFFFFF"/>
      </a:lt1>
      <a:dk2>
        <a:srgbClr val="002060"/>
      </a:dk2>
      <a:lt2>
        <a:srgbClr val="808080"/>
      </a:lt2>
      <a:accent1>
        <a:srgbClr val="E2E2E2"/>
      </a:accent1>
      <a:accent2>
        <a:srgbClr val="43D2FF"/>
      </a:accent2>
      <a:accent3>
        <a:srgbClr val="FFFFFF"/>
      </a:accent3>
      <a:accent4>
        <a:srgbClr val="004683"/>
      </a:accent4>
      <a:accent5>
        <a:srgbClr val="D2E0E6"/>
      </a:accent5>
      <a:accent6>
        <a:srgbClr val="79A2B3"/>
      </a:accent6>
      <a:hlink>
        <a:srgbClr val="007BB4"/>
      </a:hlink>
      <a:folHlink>
        <a:srgbClr val="00ADE3"/>
      </a:folHlink>
    </a:clrScheme>
    <a:fontScheme name="Ci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>
            <a:solidFill>
              <a:srgbClr val="002D7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7687F4B-2F1E-4114-B07A-640C069C128D}" vid="{E45BA0F0-7C25-449F-9B63-63C3B641F0FE}"/>
    </a:ext>
  </a:extLst>
</a:theme>
</file>

<file path=ppt/theme/theme7.xml><?xml version="1.0" encoding="utf-8"?>
<a:theme xmlns:a="http://schemas.openxmlformats.org/drawingml/2006/main" name="6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itiBanamex_corporate_template_091212">
  <a:themeElements>
    <a:clrScheme name="Citi_corporate_template20120814 4">
      <a:dk1>
        <a:srgbClr val="53565A"/>
      </a:dk1>
      <a:lt1>
        <a:srgbClr val="FFFFFF"/>
      </a:lt1>
      <a:dk2>
        <a:srgbClr val="002D72"/>
      </a:dk2>
      <a:lt2>
        <a:srgbClr val="97999B"/>
      </a:lt2>
      <a:accent1>
        <a:srgbClr val="00BDF2"/>
      </a:accent1>
      <a:accent2>
        <a:srgbClr val="FFAA11"/>
      </a:accent2>
      <a:accent3>
        <a:srgbClr val="FFFFFF"/>
      </a:accent3>
      <a:accent4>
        <a:srgbClr val="46484C"/>
      </a:accent4>
      <a:accent5>
        <a:srgbClr val="AADBF7"/>
      </a:accent5>
      <a:accent6>
        <a:srgbClr val="E79A0E"/>
      </a:accent6>
      <a:hlink>
        <a:srgbClr val="FF0000"/>
      </a:hlink>
      <a:folHlink>
        <a:srgbClr val="890C58"/>
      </a:folHlink>
    </a:clrScheme>
    <a:fontScheme name="cfin_v06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Geneva" charset="0"/>
          </a:defRPr>
        </a:defPPr>
      </a:lstStyle>
    </a:lnDef>
    <a:txDef>
      <a:spPr bwMode="black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accent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  <a:ext uri="{FAA26D3D-D897-4be2-8F04-BA451C77F1D7}">
            <ma14:placeholderFlag xmlns:ma14="http://schemas.microsoft.com/office/mac/drawingml/2011/main" xmlns="" val="1"/>
          </a:ext>
        </a:extLst>
      </a:spPr>
      <a:bodyPr lIns="0"/>
      <a:lstStyle>
        <a:defPPr algn="l" eaLnBrk="1" hangingPunct="1">
          <a:lnSpc>
            <a:spcPct val="95000"/>
          </a:lnSpc>
          <a:spcBef>
            <a:spcPct val="75000"/>
          </a:spcBef>
          <a:spcAft>
            <a:spcPct val="20000"/>
          </a:spcAft>
          <a:defRPr sz="3600" dirty="0">
            <a:solidFill>
              <a:schemeClr val="bg1"/>
            </a:solidFill>
            <a:ea typeface="Arial" charset="0"/>
            <a:cs typeface="Geneva" charset="0"/>
          </a:defRPr>
        </a:defPPr>
      </a:lstStyle>
    </a:txDef>
  </a:objectDefaults>
  <a:extraClrSchemeLst>
    <a:extraClrScheme>
      <a:clrScheme name="cfin_v06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in_v06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white 1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1">
        <a:dk1>
          <a:srgbClr val="000000"/>
        </a:dk1>
        <a:lt1>
          <a:srgbClr val="FFFFFF"/>
        </a:lt1>
        <a:dk2>
          <a:srgbClr val="000000"/>
        </a:dk2>
        <a:lt2>
          <a:srgbClr val="838589"/>
        </a:lt2>
        <a:accent1>
          <a:srgbClr val="4B4B4B"/>
        </a:accent1>
        <a:accent2>
          <a:srgbClr val="3973AD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33689C"/>
        </a:accent6>
        <a:hlink>
          <a:srgbClr val="C0C0C0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2">
        <a:dk1>
          <a:srgbClr val="000000"/>
        </a:dk1>
        <a:lt1>
          <a:srgbClr val="FFFFFF"/>
        </a:lt1>
        <a:dk2>
          <a:srgbClr val="004785"/>
        </a:dk2>
        <a:lt2>
          <a:srgbClr val="838589"/>
        </a:lt2>
        <a:accent1>
          <a:srgbClr val="4B4B4B"/>
        </a:accent1>
        <a:accent2>
          <a:srgbClr val="FFA202"/>
        </a:accent2>
        <a:accent3>
          <a:srgbClr val="FFFFFF"/>
        </a:accent3>
        <a:accent4>
          <a:srgbClr val="000000"/>
        </a:accent4>
        <a:accent5>
          <a:srgbClr val="B1B1B1"/>
        </a:accent5>
        <a:accent6>
          <a:srgbClr val="E79202"/>
        </a:accent6>
        <a:hlink>
          <a:srgbClr val="D7D7D7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3">
        <a:dk1>
          <a:srgbClr val="717073"/>
        </a:dk1>
        <a:lt1>
          <a:srgbClr val="FFFFFF"/>
        </a:lt1>
        <a:dk2>
          <a:srgbClr val="002D72"/>
        </a:dk2>
        <a:lt2>
          <a:srgbClr val="D7D7D7"/>
        </a:lt2>
        <a:accent1>
          <a:srgbClr val="00BDF2"/>
        </a:accent1>
        <a:accent2>
          <a:srgbClr val="FFA202"/>
        </a:accent2>
        <a:accent3>
          <a:srgbClr val="FFFFFF"/>
        </a:accent3>
        <a:accent4>
          <a:srgbClr val="5F5F61"/>
        </a:accent4>
        <a:accent5>
          <a:srgbClr val="AADBF7"/>
        </a:accent5>
        <a:accent6>
          <a:srgbClr val="E79202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i_corporate_template20120814 4">
        <a:dk1>
          <a:srgbClr val="53565A"/>
        </a:dk1>
        <a:lt1>
          <a:srgbClr val="FFFFFF"/>
        </a:lt1>
        <a:dk2>
          <a:srgbClr val="002D72"/>
        </a:dk2>
        <a:lt2>
          <a:srgbClr val="97999B"/>
        </a:lt2>
        <a:accent1>
          <a:srgbClr val="00BDF2"/>
        </a:accent1>
        <a:accent2>
          <a:srgbClr val="FFAA11"/>
        </a:accent2>
        <a:accent3>
          <a:srgbClr val="FFFFFF"/>
        </a:accent3>
        <a:accent4>
          <a:srgbClr val="46484C"/>
        </a:accent4>
        <a:accent5>
          <a:srgbClr val="AADBF7"/>
        </a:accent5>
        <a:accent6>
          <a:srgbClr val="E79A0E"/>
        </a:accent6>
        <a:hlink>
          <a:srgbClr val="FF0000"/>
        </a:hlink>
        <a:folHlink>
          <a:srgbClr val="890C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10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11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2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3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4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5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6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7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8.xml><?xml version="1.0" encoding="utf-8"?>
<a:themeOverride xmlns:a="http://schemas.openxmlformats.org/drawingml/2006/main">
  <a:clrScheme name="Custom 14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ppt/theme/themeOverride9.xml><?xml version="1.0" encoding="utf-8"?>
<a:themeOverride xmlns:a="http://schemas.openxmlformats.org/drawingml/2006/main">
  <a:clrScheme name="Custom 12">
    <a:dk1>
      <a:srgbClr val="53565A"/>
    </a:dk1>
    <a:lt1>
      <a:srgbClr val="FFFFFF"/>
    </a:lt1>
    <a:dk2>
      <a:srgbClr val="002D72"/>
    </a:dk2>
    <a:lt2>
      <a:srgbClr val="97999B"/>
    </a:lt2>
    <a:accent1>
      <a:srgbClr val="00BDF2"/>
    </a:accent1>
    <a:accent2>
      <a:srgbClr val="FFA202"/>
    </a:accent2>
    <a:accent3>
      <a:srgbClr val="FFFFFF"/>
    </a:accent3>
    <a:accent4>
      <a:srgbClr val="5F5F61"/>
    </a:accent4>
    <a:accent5>
      <a:srgbClr val="AADBF7"/>
    </a:accent5>
    <a:accent6>
      <a:srgbClr val="E79202"/>
    </a:accent6>
    <a:hlink>
      <a:srgbClr val="FF0000"/>
    </a:hlink>
    <a:folHlink>
      <a:srgbClr val="890C5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B6DAF26F1FA34C9968937CFA030B63" ma:contentTypeVersion="0" ma:contentTypeDescription="Create a new document." ma:contentTypeScope="" ma:versionID="a5cc2eeeccbe52524a27b47f4d1302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979982-5A80-4893-AE82-91CBA89539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4F180F-7220-4F05-B300-DD118256FEC8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9E2C78B-494A-455D-B35E-0545BB93E9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586</TotalTime>
  <Words>400</Words>
  <Application>Microsoft Macintosh PowerPoint</Application>
  <PresentationFormat>Widescreen</PresentationFormat>
  <Paragraphs>6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36" baseType="lpstr">
      <vt:lpstr>Arial</vt:lpstr>
      <vt:lpstr>Calibri</vt:lpstr>
      <vt:lpstr>Comic Sans MS</vt:lpstr>
      <vt:lpstr>Times</vt:lpstr>
      <vt:lpstr>Times New Roman</vt:lpstr>
      <vt:lpstr>Trebuchet MS</vt:lpstr>
      <vt:lpstr>Wingdings</vt:lpstr>
      <vt:lpstr>CitiBanamex_corporate_template_091212</vt:lpstr>
      <vt:lpstr>Blank</vt:lpstr>
      <vt:lpstr>1_Blank</vt:lpstr>
      <vt:lpstr>3_CitiBanamex_corporate_template_091212</vt:lpstr>
      <vt:lpstr>4_CitiBanamex_corporate_template_091212</vt:lpstr>
      <vt:lpstr>2_Blank</vt:lpstr>
      <vt:lpstr>6_CitiBanamex_corporate_template_091212</vt:lpstr>
      <vt:lpstr>10_CitiBanamex_corporate_template_091212</vt:lpstr>
      <vt:lpstr>11_CitiBanamex_corporate_template_091212</vt:lpstr>
      <vt:lpstr>CITIBanamex-MX2020 Grid 16:9</vt:lpstr>
      <vt:lpstr>4_Blank</vt:lpstr>
      <vt:lpstr>5_Blank</vt:lpstr>
      <vt:lpstr>Citi Consumer PPT Template</vt:lpstr>
      <vt:lpstr>2_Citi Consumer PPT Template</vt:lpstr>
      <vt:lpstr>3_Citi Consumer PPT Template</vt:lpstr>
      <vt:lpstr>6_Blank</vt:lpstr>
      <vt:lpstr>9_Blank</vt:lpstr>
      <vt:lpstr>1_CITIBanamex-MX2020 Grid 16:9</vt:lpstr>
      <vt:lpstr>7_Blank</vt:lpstr>
      <vt:lpstr>10_Blank</vt:lpstr>
      <vt:lpstr>14_Blank</vt:lpstr>
      <vt:lpstr>16_Blank</vt:lpstr>
      <vt:lpstr>20_Blank</vt:lpstr>
      <vt:lpstr>22_Blank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scon, Gerardo</dc:creator>
  <cp:lastModifiedBy>Susana Edith Barrientos</cp:lastModifiedBy>
  <cp:revision>2965</cp:revision>
  <cp:lastPrinted>2017-11-08T02:49:06Z</cp:lastPrinted>
  <dcterms:created xsi:type="dcterms:W3CDTF">2017-07-20T18:35:30Z</dcterms:created>
  <dcterms:modified xsi:type="dcterms:W3CDTF">2020-02-06T00:2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B6DAF26F1FA34C9968937CFA030B63</vt:lpwstr>
  </property>
</Properties>
</file>